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ink/ink28.xml" ContentType="application/inkml+xml"/>
  <Override PartName="/ppt/ink/ink29.xml" ContentType="application/inkml+xml"/>
  <Override PartName="/ppt/ink/ink30.xml" ContentType="application/inkml+xml"/>
  <Override PartName="/ppt/ink/ink31.xml" ContentType="application/inkml+xml"/>
  <Override PartName="/ppt/ink/ink32.xml" ContentType="application/inkml+xml"/>
  <Override PartName="/ppt/ink/ink33.xml" ContentType="application/inkml+xml"/>
  <Override PartName="/ppt/ink/ink34.xml" ContentType="application/inkml+xml"/>
  <Override PartName="/ppt/ink/ink35.xml" ContentType="application/inkml+xml"/>
  <Override PartName="/ppt/ink/ink36.xml" ContentType="application/inkml+xml"/>
  <Override PartName="/ppt/ink/ink37.xml" ContentType="application/inkml+xml"/>
  <Override PartName="/ppt/ink/ink38.xml" ContentType="application/inkml+xml"/>
  <Override PartName="/ppt/ink/ink39.xml" ContentType="application/inkml+xml"/>
  <Override PartName="/ppt/ink/ink40.xml" ContentType="application/inkml+xml"/>
  <Override PartName="/ppt/ink/ink41.xml" ContentType="application/inkml+xml"/>
  <Override PartName="/ppt/ink/ink42.xml" ContentType="application/inkml+xml"/>
  <Override PartName="/ppt/ink/ink43.xml" ContentType="application/inkml+xml"/>
  <Override PartName="/ppt/ink/ink44.xml" ContentType="application/inkml+xml"/>
  <Override PartName="/ppt/ink/ink45.xml" ContentType="application/inkml+xml"/>
  <Override PartName="/ppt/ink/ink46.xml" ContentType="application/inkml+xml"/>
  <Override PartName="/ppt/ink/ink47.xml" ContentType="application/inkml+xml"/>
  <Override PartName="/ppt/ink/ink48.xml" ContentType="application/inkml+xml"/>
  <Override PartName="/ppt/ink/ink49.xml" ContentType="application/inkml+xml"/>
  <Override PartName="/ppt/ink/ink50.xml" ContentType="application/inkml+xml"/>
  <Override PartName="/ppt/ink/ink51.xml" ContentType="application/inkml+xml"/>
  <Override PartName="/ppt/ink/ink52.xml" ContentType="application/inkml+xml"/>
  <Override PartName="/ppt/ink/ink53.xml" ContentType="application/inkml+xml"/>
  <Override PartName="/ppt/ink/ink54.xml" ContentType="application/inkml+xml"/>
  <Override PartName="/ppt/ink/ink55.xml" ContentType="application/inkml+xml"/>
  <Override PartName="/ppt/ink/ink56.xml" ContentType="application/inkml+xml"/>
  <Override PartName="/ppt/ink/ink57.xml" ContentType="application/inkml+xml"/>
  <Override PartName="/ppt/ink/ink58.xml" ContentType="application/inkml+xml"/>
  <Override PartName="/ppt/ink/ink59.xml" ContentType="application/inkml+xml"/>
  <Override PartName="/ppt/ink/ink60.xml" ContentType="application/inkml+xml"/>
  <Override PartName="/ppt/ink/ink61.xml" ContentType="application/inkml+xml"/>
  <Override PartName="/ppt/ink/ink62.xml" ContentType="application/inkml+xml"/>
  <Override PartName="/ppt/ink/ink63.xml" ContentType="application/inkml+xml"/>
  <Override PartName="/ppt/ink/ink64.xml" ContentType="application/inkml+xml"/>
  <Override PartName="/ppt/ink/ink65.xml" ContentType="application/inkml+xml"/>
  <Override PartName="/ppt/ink/ink66.xml" ContentType="application/inkml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sldIdLst>
    <p:sldId id="621" r:id="rId2"/>
    <p:sldId id="4012" r:id="rId3"/>
    <p:sldId id="4013" r:id="rId4"/>
    <p:sldId id="4014" r:id="rId5"/>
    <p:sldId id="4023" r:id="rId6"/>
    <p:sldId id="4048" r:id="rId7"/>
    <p:sldId id="4024" r:id="rId8"/>
    <p:sldId id="4025" r:id="rId9"/>
    <p:sldId id="4026" r:id="rId10"/>
    <p:sldId id="4027" r:id="rId11"/>
    <p:sldId id="4028" r:id="rId12"/>
    <p:sldId id="4029" r:id="rId13"/>
    <p:sldId id="4030" r:id="rId14"/>
    <p:sldId id="4031" r:id="rId15"/>
    <p:sldId id="4032" r:id="rId16"/>
    <p:sldId id="4033" r:id="rId17"/>
    <p:sldId id="4034" r:id="rId18"/>
    <p:sldId id="4035" r:id="rId19"/>
    <p:sldId id="4036" r:id="rId20"/>
    <p:sldId id="4037" r:id="rId21"/>
    <p:sldId id="4038" r:id="rId22"/>
    <p:sldId id="4039" r:id="rId23"/>
    <p:sldId id="4040" r:id="rId24"/>
    <p:sldId id="4041" r:id="rId25"/>
    <p:sldId id="4042" r:id="rId26"/>
    <p:sldId id="4043" r:id="rId27"/>
    <p:sldId id="4044" r:id="rId28"/>
    <p:sldId id="4045" r:id="rId29"/>
    <p:sldId id="4046" r:id="rId30"/>
  </p:sldIdLst>
  <p:sldSz cx="12192000" cy="6858000"/>
  <p:notesSz cx="6886575" cy="1001712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337E8A1E-DEBD-4187-AFCE-863DF5B844AD}">
          <p14:sldIdLst>
            <p14:sldId id="621"/>
          </p14:sldIdLst>
        </p14:section>
        <p14:section name="Programmierung" id="{4CF6F2F5-6D5F-4A2C-9810-D5B4C9332587}">
          <p14:sldIdLst>
            <p14:sldId id="4012"/>
            <p14:sldId id="4013"/>
            <p14:sldId id="4014"/>
            <p14:sldId id="4023"/>
            <p14:sldId id="4048"/>
            <p14:sldId id="4024"/>
            <p14:sldId id="4025"/>
            <p14:sldId id="4026"/>
            <p14:sldId id="4027"/>
            <p14:sldId id="4028"/>
            <p14:sldId id="4029"/>
            <p14:sldId id="4030"/>
            <p14:sldId id="4031"/>
            <p14:sldId id="4032"/>
            <p14:sldId id="4033"/>
            <p14:sldId id="4034"/>
            <p14:sldId id="4035"/>
            <p14:sldId id="4036"/>
            <p14:sldId id="4037"/>
            <p14:sldId id="4038"/>
            <p14:sldId id="4039"/>
            <p14:sldId id="4040"/>
            <p14:sldId id="4041"/>
          </p14:sldIdLst>
        </p14:section>
        <p14:section name="Aufgabe" id="{53FBC477-95C3-4207-A7E0-739CB1BA68AA}">
          <p14:sldIdLst>
            <p14:sldId id="4042"/>
            <p14:sldId id="4043"/>
            <p14:sldId id="4044"/>
            <p14:sldId id="4045"/>
            <p14:sldId id="40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E83C0DB-24F0-46D2-AB57-65EA111ABD8D}" v="95" dt="2025-09-30T10:41:39.84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73" autoAdjust="0"/>
    <p:restoredTop sz="76427" autoAdjust="0"/>
  </p:normalViewPr>
  <p:slideViewPr>
    <p:cSldViewPr snapToGrid="0">
      <p:cViewPr varScale="1">
        <p:scale>
          <a:sx n="106" d="100"/>
          <a:sy n="106" d="100"/>
        </p:scale>
        <p:origin x="56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customXml" Target="../customXml/item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38" Type="http://schemas.openxmlformats.org/officeDocument/2006/relationships/customXml" Target="../customXml/item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40" Type="http://schemas.openxmlformats.org/officeDocument/2006/relationships/customXml" Target="../customXml/item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ter Bartholot" userId="b40eedc225134335" providerId="LiveId" clId="{070BB936-E59E-4D9C-B099-160B1BE6C3A8}"/>
    <pc:docChg chg="undo redo custSel addSld delSld modSld addSection delSection modSection">
      <pc:chgData name="Peter Bartholot" userId="b40eedc225134335" providerId="LiveId" clId="{070BB936-E59E-4D9C-B099-160B1BE6C3A8}" dt="2025-09-30T10:42:17.406" v="3802" actId="1076"/>
      <pc:docMkLst>
        <pc:docMk/>
      </pc:docMkLst>
      <pc:sldChg chg="modSp mod">
        <pc:chgData name="Peter Bartholot" userId="b40eedc225134335" providerId="LiveId" clId="{070BB936-E59E-4D9C-B099-160B1BE6C3A8}" dt="2025-09-30T05:49:52.516" v="3" actId="20577"/>
        <pc:sldMkLst>
          <pc:docMk/>
          <pc:sldMk cId="2008319163" sldId="621"/>
        </pc:sldMkLst>
        <pc:spChg chg="mod">
          <ac:chgData name="Peter Bartholot" userId="b40eedc225134335" providerId="LiveId" clId="{070BB936-E59E-4D9C-B099-160B1BE6C3A8}" dt="2025-09-30T05:49:52.516" v="3" actId="20577"/>
          <ac:spMkLst>
            <pc:docMk/>
            <pc:sldMk cId="2008319163" sldId="621"/>
            <ac:spMk id="3" creationId="{00000000-0000-0000-0000-000000000000}"/>
          </ac:spMkLst>
        </pc:spChg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1631897389" sldId="1147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576640688" sldId="1148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3164489079" sldId="1149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2685952643" sldId="3478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2343208121" sldId="3480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1583098974" sldId="3481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2880496087" sldId="3484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3006839836" sldId="3489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1931383700" sldId="3491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580423484" sldId="3492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2060558055" sldId="3493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3138990453" sldId="3494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680840523" sldId="3496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4108365429" sldId="3499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2513890222" sldId="4000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2152513290" sldId="4001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1380928921" sldId="4002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3238932078" sldId="4003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3841807877" sldId="4004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1647308356" sldId="4005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4082398653" sldId="4006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357169900" sldId="4007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218373607" sldId="4008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3537515527" sldId="4009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1241961828" sldId="4010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2845026450" sldId="4011"/>
        </pc:sldMkLst>
      </pc:sldChg>
      <pc:sldChg chg="addSp mod">
        <pc:chgData name="Peter Bartholot" userId="b40eedc225134335" providerId="LiveId" clId="{070BB936-E59E-4D9C-B099-160B1BE6C3A8}" dt="2025-09-30T07:27:32.994" v="598" actId="9405"/>
        <pc:sldMkLst>
          <pc:docMk/>
          <pc:sldMk cId="4190472069" sldId="4013"/>
        </pc:sldMkLst>
        <pc:inkChg chg="add">
          <ac:chgData name="Peter Bartholot" userId="b40eedc225134335" providerId="LiveId" clId="{070BB936-E59E-4D9C-B099-160B1BE6C3A8}" dt="2025-09-30T07:27:32.994" v="598" actId="9405"/>
          <ac:inkMkLst>
            <pc:docMk/>
            <pc:sldMk cId="4190472069" sldId="4013"/>
            <ac:inkMk id="2" creationId="{655DF937-C83F-A874-0EC4-0D4D1C746BAD}"/>
          </ac:inkMkLst>
        </pc:inkChg>
      </pc:sldChg>
      <pc:sldChg chg="addSp delSp modSp mod">
        <pc:chgData name="Peter Bartholot" userId="b40eedc225134335" providerId="LiveId" clId="{070BB936-E59E-4D9C-B099-160B1BE6C3A8}" dt="2025-09-30T07:13:43.699" v="117" actId="9405"/>
        <pc:sldMkLst>
          <pc:docMk/>
          <pc:sldMk cId="3218549514" sldId="4023"/>
        </pc:sldMkLst>
        <pc:spChg chg="del mod">
          <ac:chgData name="Peter Bartholot" userId="b40eedc225134335" providerId="LiveId" clId="{070BB936-E59E-4D9C-B099-160B1BE6C3A8}" dt="2025-09-30T06:48:40.671" v="14"/>
          <ac:spMkLst>
            <pc:docMk/>
            <pc:sldMk cId="3218549514" sldId="4023"/>
            <ac:spMk id="2" creationId="{CDFC9EAF-17CC-378F-ED9D-03493EB1B753}"/>
          </ac:spMkLst>
        </pc:spChg>
        <pc:spChg chg="del">
          <ac:chgData name="Peter Bartholot" userId="b40eedc225134335" providerId="LiveId" clId="{070BB936-E59E-4D9C-B099-160B1BE6C3A8}" dt="2025-09-30T05:53:28.412" v="7" actId="478"/>
          <ac:spMkLst>
            <pc:docMk/>
            <pc:sldMk cId="3218549514" sldId="4023"/>
            <ac:spMk id="3" creationId="{3459F3E5-AE56-AB76-C4E1-994B88F0EE80}"/>
          </ac:spMkLst>
        </pc:spChg>
        <pc:spChg chg="add mod">
          <ac:chgData name="Peter Bartholot" userId="b40eedc225134335" providerId="LiveId" clId="{070BB936-E59E-4D9C-B099-160B1BE6C3A8}" dt="2025-09-30T07:02:40.492" v="77" actId="1076"/>
          <ac:spMkLst>
            <pc:docMk/>
            <pc:sldMk cId="3218549514" sldId="4023"/>
            <ac:spMk id="18" creationId="{63104554-32A9-D955-B4AA-15BF46D169D8}"/>
          </ac:spMkLst>
        </pc:spChg>
        <pc:grpChg chg="del mod">
          <ac:chgData name="Peter Bartholot" userId="b40eedc225134335" providerId="LiveId" clId="{070BB936-E59E-4D9C-B099-160B1BE6C3A8}" dt="2025-09-30T06:58:57.243" v="31"/>
          <ac:grpSpMkLst>
            <pc:docMk/>
            <pc:sldMk cId="3218549514" sldId="4023"/>
            <ac:grpSpMk id="8" creationId="{03DA282F-7A86-2D1A-0265-B77010D264A4}"/>
          </ac:grpSpMkLst>
        </pc:grpChg>
        <pc:grpChg chg="mod">
          <ac:chgData name="Peter Bartholot" userId="b40eedc225134335" providerId="LiveId" clId="{070BB936-E59E-4D9C-B099-160B1BE6C3A8}" dt="2025-09-30T06:59:02.595" v="34"/>
          <ac:grpSpMkLst>
            <pc:docMk/>
            <pc:sldMk cId="3218549514" sldId="4023"/>
            <ac:grpSpMk id="11" creationId="{79D6980E-3A46-80BE-FDE3-EAA3AE8BEA9C}"/>
          </ac:grpSpMkLst>
        </pc:grpChg>
        <pc:grpChg chg="mod">
          <ac:chgData name="Peter Bartholot" userId="b40eedc225134335" providerId="LiveId" clId="{070BB936-E59E-4D9C-B099-160B1BE6C3A8}" dt="2025-09-30T07:02:14.616" v="40"/>
          <ac:grpSpMkLst>
            <pc:docMk/>
            <pc:sldMk cId="3218549514" sldId="4023"/>
            <ac:grpSpMk id="17" creationId="{ADB57115-D285-FA47-C9F0-A792D8FAD2D7}"/>
          </ac:grpSpMkLst>
        </pc:grpChg>
        <pc:picChg chg="add">
          <ac:chgData name="Peter Bartholot" userId="b40eedc225134335" providerId="LiveId" clId="{070BB936-E59E-4D9C-B099-160B1BE6C3A8}" dt="2025-09-30T06:48:41.887" v="15" actId="22"/>
          <ac:picMkLst>
            <pc:docMk/>
            <pc:sldMk cId="3218549514" sldId="4023"/>
            <ac:picMk id="5" creationId="{657B173B-ACB2-35C9-2A1C-44D794DD3989}"/>
          </ac:picMkLst>
        </pc:picChg>
        <pc:inkChg chg="add mod">
          <ac:chgData name="Peter Bartholot" userId="b40eedc225134335" providerId="LiveId" clId="{070BB936-E59E-4D9C-B099-160B1BE6C3A8}" dt="2025-09-30T06:58:57.243" v="31"/>
          <ac:inkMkLst>
            <pc:docMk/>
            <pc:sldMk cId="3218549514" sldId="4023"/>
            <ac:inkMk id="6" creationId="{3933D6F6-CA45-204E-CEF3-725117F1C1DC}"/>
          </ac:inkMkLst>
        </pc:inkChg>
        <pc:inkChg chg="add del mod">
          <ac:chgData name="Peter Bartholot" userId="b40eedc225134335" providerId="LiveId" clId="{070BB936-E59E-4D9C-B099-160B1BE6C3A8}" dt="2025-09-30T06:58:57.243" v="31"/>
          <ac:inkMkLst>
            <pc:docMk/>
            <pc:sldMk cId="3218549514" sldId="4023"/>
            <ac:inkMk id="7" creationId="{B19E2A98-8C12-E72F-091C-74B4BB3F7458}"/>
          </ac:inkMkLst>
        </pc:inkChg>
        <pc:inkChg chg="add mod">
          <ac:chgData name="Peter Bartholot" userId="b40eedc225134335" providerId="LiveId" clId="{070BB936-E59E-4D9C-B099-160B1BE6C3A8}" dt="2025-09-30T06:59:02.595" v="34"/>
          <ac:inkMkLst>
            <pc:docMk/>
            <pc:sldMk cId="3218549514" sldId="4023"/>
            <ac:inkMk id="9" creationId="{C00DCDC1-D1CF-AA51-A8BC-3D8BA1C49FFB}"/>
          </ac:inkMkLst>
        </pc:inkChg>
        <pc:inkChg chg="add mod">
          <ac:chgData name="Peter Bartholot" userId="b40eedc225134335" providerId="LiveId" clId="{070BB936-E59E-4D9C-B099-160B1BE6C3A8}" dt="2025-09-30T06:59:02.595" v="34"/>
          <ac:inkMkLst>
            <pc:docMk/>
            <pc:sldMk cId="3218549514" sldId="4023"/>
            <ac:inkMk id="10" creationId="{F990A0B3-0800-DEE9-A0ED-090ECE3E8C36}"/>
          </ac:inkMkLst>
        </pc:inkChg>
        <pc:inkChg chg="add">
          <ac:chgData name="Peter Bartholot" userId="b40eedc225134335" providerId="LiveId" clId="{070BB936-E59E-4D9C-B099-160B1BE6C3A8}" dt="2025-09-30T06:59:58.471" v="35" actId="9405"/>
          <ac:inkMkLst>
            <pc:docMk/>
            <pc:sldMk cId="3218549514" sldId="4023"/>
            <ac:inkMk id="12" creationId="{1185EE6E-F646-E79B-20A5-E53D553BC8AC}"/>
          </ac:inkMkLst>
        </pc:inkChg>
        <pc:inkChg chg="add">
          <ac:chgData name="Peter Bartholot" userId="b40eedc225134335" providerId="LiveId" clId="{070BB936-E59E-4D9C-B099-160B1BE6C3A8}" dt="2025-09-30T07:01:26.896" v="36" actId="9405"/>
          <ac:inkMkLst>
            <pc:docMk/>
            <pc:sldMk cId="3218549514" sldId="4023"/>
            <ac:inkMk id="13" creationId="{3321B809-2DF5-8503-88C0-354BD26D4F18}"/>
          </ac:inkMkLst>
        </pc:inkChg>
        <pc:inkChg chg="add">
          <ac:chgData name="Peter Bartholot" userId="b40eedc225134335" providerId="LiveId" clId="{070BB936-E59E-4D9C-B099-160B1BE6C3A8}" dt="2025-09-30T07:01:29.103" v="37" actId="9405"/>
          <ac:inkMkLst>
            <pc:docMk/>
            <pc:sldMk cId="3218549514" sldId="4023"/>
            <ac:inkMk id="14" creationId="{9FFA1637-F7A9-A709-41F6-D8335039BB88}"/>
          </ac:inkMkLst>
        </pc:inkChg>
        <pc:inkChg chg="add mod">
          <ac:chgData name="Peter Bartholot" userId="b40eedc225134335" providerId="LiveId" clId="{070BB936-E59E-4D9C-B099-160B1BE6C3A8}" dt="2025-09-30T07:02:14.616" v="40"/>
          <ac:inkMkLst>
            <pc:docMk/>
            <pc:sldMk cId="3218549514" sldId="4023"/>
            <ac:inkMk id="15" creationId="{0C10CF9F-E756-8E31-BF70-24773E649C98}"/>
          </ac:inkMkLst>
        </pc:inkChg>
        <pc:inkChg chg="add mod">
          <ac:chgData name="Peter Bartholot" userId="b40eedc225134335" providerId="LiveId" clId="{070BB936-E59E-4D9C-B099-160B1BE6C3A8}" dt="2025-09-30T07:02:14.616" v="40"/>
          <ac:inkMkLst>
            <pc:docMk/>
            <pc:sldMk cId="3218549514" sldId="4023"/>
            <ac:inkMk id="16" creationId="{FECAA5CF-EED7-4D3A-734D-92E6C730EF73}"/>
          </ac:inkMkLst>
        </pc:inkChg>
        <pc:inkChg chg="add">
          <ac:chgData name="Peter Bartholot" userId="b40eedc225134335" providerId="LiveId" clId="{070BB936-E59E-4D9C-B099-160B1BE6C3A8}" dt="2025-09-30T07:13:43.699" v="117" actId="9405"/>
          <ac:inkMkLst>
            <pc:docMk/>
            <pc:sldMk cId="3218549514" sldId="4023"/>
            <ac:inkMk id="19" creationId="{2D24B518-6A8F-6C85-C974-4FFB73AFFA4E}"/>
          </ac:inkMkLst>
        </pc:inkChg>
      </pc:sldChg>
      <pc:sldChg chg="addSp delSp modSp add mod">
        <pc:chgData name="Peter Bartholot" userId="b40eedc225134335" providerId="LiveId" clId="{070BB936-E59E-4D9C-B099-160B1BE6C3A8}" dt="2025-09-30T07:26:50.522" v="597" actId="14100"/>
        <pc:sldMkLst>
          <pc:docMk/>
          <pc:sldMk cId="1509455741" sldId="4024"/>
        </pc:sldMkLst>
        <pc:spChg chg="add mod">
          <ac:chgData name="Peter Bartholot" userId="b40eedc225134335" providerId="LiveId" clId="{070BB936-E59E-4D9C-B099-160B1BE6C3A8}" dt="2025-09-30T07:26:50.522" v="597" actId="14100"/>
          <ac:spMkLst>
            <pc:docMk/>
            <pc:sldMk cId="1509455741" sldId="4024"/>
            <ac:spMk id="3" creationId="{46E50C82-C3A0-E44A-3BCE-A83841647A90}"/>
          </ac:spMkLst>
        </pc:spChg>
        <pc:spChg chg="add mod">
          <ac:chgData name="Peter Bartholot" userId="b40eedc225134335" providerId="LiveId" clId="{070BB936-E59E-4D9C-B099-160B1BE6C3A8}" dt="2025-09-30T07:25:53.495" v="584" actId="1076"/>
          <ac:spMkLst>
            <pc:docMk/>
            <pc:sldMk cId="1509455741" sldId="4024"/>
            <ac:spMk id="4" creationId="{D7A5C9BE-3D0B-3BFF-E652-F42C7486941F}"/>
          </ac:spMkLst>
        </pc:spChg>
        <pc:graphicFrameChg chg="add del">
          <ac:chgData name="Peter Bartholot" userId="b40eedc225134335" providerId="LiveId" clId="{070BB936-E59E-4D9C-B099-160B1BE6C3A8}" dt="2025-09-30T07:11:15.736" v="116" actId="478"/>
          <ac:graphicFrameMkLst>
            <pc:docMk/>
            <pc:sldMk cId="1509455741" sldId="4024"/>
            <ac:graphicFrameMk id="2" creationId="{138AC4C2-8222-DFF9-897B-BE9213357F64}"/>
          </ac:graphicFrameMkLst>
        </pc:graphicFrameChg>
        <pc:picChg chg="del">
          <ac:chgData name="Peter Bartholot" userId="b40eedc225134335" providerId="LiveId" clId="{070BB936-E59E-4D9C-B099-160B1BE6C3A8}" dt="2025-09-30T06:49:01.185" v="17" actId="478"/>
          <ac:picMkLst>
            <pc:docMk/>
            <pc:sldMk cId="1509455741" sldId="4024"/>
            <ac:picMk id="5" creationId="{C3160F0C-5D22-FB0B-BD91-EBC7E61E014F}"/>
          </ac:picMkLst>
        </pc:picChg>
      </pc:sldChg>
      <pc:sldChg chg="addSp modSp add mod">
        <pc:chgData name="Peter Bartholot" userId="b40eedc225134335" providerId="LiveId" clId="{070BB936-E59E-4D9C-B099-160B1BE6C3A8}" dt="2025-09-30T06:54:42.763" v="27" actId="14100"/>
        <pc:sldMkLst>
          <pc:docMk/>
          <pc:sldMk cId="658906450" sldId="4025"/>
        </pc:sldMkLst>
        <pc:picChg chg="add mod">
          <ac:chgData name="Peter Bartholot" userId="b40eedc225134335" providerId="LiveId" clId="{070BB936-E59E-4D9C-B099-160B1BE6C3A8}" dt="2025-09-30T06:54:42.763" v="27" actId="14100"/>
          <ac:picMkLst>
            <pc:docMk/>
            <pc:sldMk cId="658906450" sldId="4025"/>
            <ac:picMk id="3" creationId="{2158B124-5B7E-59EB-5158-2707C788DC9A}"/>
          </ac:picMkLst>
        </pc:picChg>
      </pc:sldChg>
      <pc:sldChg chg="addSp delSp modSp add mod">
        <pc:chgData name="Peter Bartholot" userId="b40eedc225134335" providerId="LiveId" clId="{070BB936-E59E-4D9C-B099-160B1BE6C3A8}" dt="2025-09-30T08:39:10.064" v="1459"/>
        <pc:sldMkLst>
          <pc:docMk/>
          <pc:sldMk cId="2157916511" sldId="4026"/>
        </pc:sldMkLst>
        <pc:spChg chg="add mod">
          <ac:chgData name="Peter Bartholot" userId="b40eedc225134335" providerId="LiveId" clId="{070BB936-E59E-4D9C-B099-160B1BE6C3A8}" dt="2025-09-30T08:06:48.150" v="661" actId="1076"/>
          <ac:spMkLst>
            <pc:docMk/>
            <pc:sldMk cId="2157916511" sldId="4026"/>
            <ac:spMk id="3" creationId="{241962DF-FD30-42DC-ABE6-7D033FDCDBBC}"/>
          </ac:spMkLst>
        </pc:spChg>
        <pc:spChg chg="add mod">
          <ac:chgData name="Peter Bartholot" userId="b40eedc225134335" providerId="LiveId" clId="{070BB936-E59E-4D9C-B099-160B1BE6C3A8}" dt="2025-09-30T08:06:45.704" v="660" actId="1076"/>
          <ac:spMkLst>
            <pc:docMk/>
            <pc:sldMk cId="2157916511" sldId="4026"/>
            <ac:spMk id="4" creationId="{F7B8C75B-8D07-341C-A0C1-1B3B56A8FE9F}"/>
          </ac:spMkLst>
        </pc:spChg>
        <pc:spChg chg="add mod">
          <ac:chgData name="Peter Bartholot" userId="b40eedc225134335" providerId="LiveId" clId="{070BB936-E59E-4D9C-B099-160B1BE6C3A8}" dt="2025-09-30T08:05:02.031" v="626" actId="20577"/>
          <ac:spMkLst>
            <pc:docMk/>
            <pc:sldMk cId="2157916511" sldId="4026"/>
            <ac:spMk id="5" creationId="{CC46E6D4-4F5D-DB25-D465-06FAD433A522}"/>
          </ac:spMkLst>
        </pc:spChg>
        <pc:spChg chg="add mod">
          <ac:chgData name="Peter Bartholot" userId="b40eedc225134335" providerId="LiveId" clId="{070BB936-E59E-4D9C-B099-160B1BE6C3A8}" dt="2025-09-30T08:05:50.988" v="640" actId="115"/>
          <ac:spMkLst>
            <pc:docMk/>
            <pc:sldMk cId="2157916511" sldId="4026"/>
            <ac:spMk id="6" creationId="{91163F8E-FCB2-B709-A7DF-284BCD2E7606}"/>
          </ac:spMkLst>
        </pc:spChg>
        <pc:spChg chg="add mod">
          <ac:chgData name="Peter Bartholot" userId="b40eedc225134335" providerId="LiveId" clId="{070BB936-E59E-4D9C-B099-160B1BE6C3A8}" dt="2025-09-30T08:06:01.397" v="646" actId="20577"/>
          <ac:spMkLst>
            <pc:docMk/>
            <pc:sldMk cId="2157916511" sldId="4026"/>
            <ac:spMk id="9" creationId="{47D26815-0B49-2046-1743-E19D41866EA7}"/>
          </ac:spMkLst>
        </pc:spChg>
        <pc:spChg chg="add mod">
          <ac:chgData name="Peter Bartholot" userId="b40eedc225134335" providerId="LiveId" clId="{070BB936-E59E-4D9C-B099-160B1BE6C3A8}" dt="2025-09-30T08:06:45.704" v="660" actId="1076"/>
          <ac:spMkLst>
            <pc:docMk/>
            <pc:sldMk cId="2157916511" sldId="4026"/>
            <ac:spMk id="13" creationId="{17F6E288-13C8-94F9-5CE3-B553A65F0C48}"/>
          </ac:spMkLst>
        </pc:spChg>
        <pc:spChg chg="add mod">
          <ac:chgData name="Peter Bartholot" userId="b40eedc225134335" providerId="LiveId" clId="{070BB936-E59E-4D9C-B099-160B1BE6C3A8}" dt="2025-09-30T08:07:00.843" v="670" actId="14100"/>
          <ac:spMkLst>
            <pc:docMk/>
            <pc:sldMk cId="2157916511" sldId="4026"/>
            <ac:spMk id="16" creationId="{AF2E135F-096A-1635-70A6-57BDE0259EB2}"/>
          </ac:spMkLst>
        </pc:spChg>
        <pc:spChg chg="add mod">
          <ac:chgData name="Peter Bartholot" userId="b40eedc225134335" providerId="LiveId" clId="{070BB936-E59E-4D9C-B099-160B1BE6C3A8}" dt="2025-09-30T08:10:29.022" v="755" actId="1076"/>
          <ac:spMkLst>
            <pc:docMk/>
            <pc:sldMk cId="2157916511" sldId="4026"/>
            <ac:spMk id="22" creationId="{854A89A8-8F93-BAC7-3B0A-122D3685C2F6}"/>
          </ac:spMkLst>
        </pc:spChg>
        <pc:spChg chg="add mod">
          <ac:chgData name="Peter Bartholot" userId="b40eedc225134335" providerId="LiveId" clId="{070BB936-E59E-4D9C-B099-160B1BE6C3A8}" dt="2025-09-30T08:07:20.277" v="677" actId="20577"/>
          <ac:spMkLst>
            <pc:docMk/>
            <pc:sldMk cId="2157916511" sldId="4026"/>
            <ac:spMk id="23" creationId="{7E2E9120-AC47-1A67-7554-F6BF8973B42B}"/>
          </ac:spMkLst>
        </pc:spChg>
        <pc:spChg chg="add mod">
          <ac:chgData name="Peter Bartholot" userId="b40eedc225134335" providerId="LiveId" clId="{070BB936-E59E-4D9C-B099-160B1BE6C3A8}" dt="2025-09-30T08:07:43.779" v="689" actId="20577"/>
          <ac:spMkLst>
            <pc:docMk/>
            <pc:sldMk cId="2157916511" sldId="4026"/>
            <ac:spMk id="25" creationId="{944D9A78-D079-FF5B-8F01-468ACD7CF49D}"/>
          </ac:spMkLst>
        </pc:spChg>
        <pc:spChg chg="add mod">
          <ac:chgData name="Peter Bartholot" userId="b40eedc225134335" providerId="LiveId" clId="{070BB936-E59E-4D9C-B099-160B1BE6C3A8}" dt="2025-09-30T08:07:49.487" v="695" actId="20577"/>
          <ac:spMkLst>
            <pc:docMk/>
            <pc:sldMk cId="2157916511" sldId="4026"/>
            <ac:spMk id="26" creationId="{6A593404-2F37-5DFB-C579-572203EB9F65}"/>
          </ac:spMkLst>
        </pc:spChg>
        <pc:spChg chg="add mod">
          <ac:chgData name="Peter Bartholot" userId="b40eedc225134335" providerId="LiveId" clId="{070BB936-E59E-4D9C-B099-160B1BE6C3A8}" dt="2025-09-30T08:07:54.269" v="701" actId="20577"/>
          <ac:spMkLst>
            <pc:docMk/>
            <pc:sldMk cId="2157916511" sldId="4026"/>
            <ac:spMk id="27" creationId="{7164AD63-AFDC-626F-8491-A1B4A236EBF0}"/>
          </ac:spMkLst>
        </pc:spChg>
        <pc:spChg chg="add mod">
          <ac:chgData name="Peter Bartholot" userId="b40eedc225134335" providerId="LiveId" clId="{070BB936-E59E-4D9C-B099-160B1BE6C3A8}" dt="2025-09-30T08:08:58.989" v="733" actId="14100"/>
          <ac:spMkLst>
            <pc:docMk/>
            <pc:sldMk cId="2157916511" sldId="4026"/>
            <ac:spMk id="48" creationId="{370AFE90-9759-E041-4E7B-FCD48BD1A028}"/>
          </ac:spMkLst>
        </pc:spChg>
        <pc:spChg chg="add mod">
          <ac:chgData name="Peter Bartholot" userId="b40eedc225134335" providerId="LiveId" clId="{070BB936-E59E-4D9C-B099-160B1BE6C3A8}" dt="2025-09-30T08:09:12.853" v="736" actId="571"/>
          <ac:spMkLst>
            <pc:docMk/>
            <pc:sldMk cId="2157916511" sldId="4026"/>
            <ac:spMk id="53" creationId="{61EEAE91-2960-0220-8A99-E63791906B07}"/>
          </ac:spMkLst>
        </pc:spChg>
        <pc:spChg chg="add mod">
          <ac:chgData name="Peter Bartholot" userId="b40eedc225134335" providerId="LiveId" clId="{070BB936-E59E-4D9C-B099-160B1BE6C3A8}" dt="2025-09-30T08:09:18.206" v="738" actId="20577"/>
          <ac:spMkLst>
            <pc:docMk/>
            <pc:sldMk cId="2157916511" sldId="4026"/>
            <ac:spMk id="54" creationId="{1C43D488-641D-3739-5AA8-2107A7681D46}"/>
          </ac:spMkLst>
        </pc:spChg>
        <pc:spChg chg="add mod">
          <ac:chgData name="Peter Bartholot" userId="b40eedc225134335" providerId="LiveId" clId="{070BB936-E59E-4D9C-B099-160B1BE6C3A8}" dt="2025-09-30T08:09:29.756" v="739" actId="571"/>
          <ac:spMkLst>
            <pc:docMk/>
            <pc:sldMk cId="2157916511" sldId="4026"/>
            <ac:spMk id="55" creationId="{6BB7B6E7-3C4C-D625-5FCC-F8C2D22C3B1F}"/>
          </ac:spMkLst>
        </pc:spChg>
        <pc:spChg chg="add mod">
          <ac:chgData name="Peter Bartholot" userId="b40eedc225134335" providerId="LiveId" clId="{070BB936-E59E-4D9C-B099-160B1BE6C3A8}" dt="2025-09-30T08:09:36.364" v="745" actId="20577"/>
          <ac:spMkLst>
            <pc:docMk/>
            <pc:sldMk cId="2157916511" sldId="4026"/>
            <ac:spMk id="57" creationId="{0933B92A-FF27-237C-58ED-39FE6B12D91C}"/>
          </ac:spMkLst>
        </pc:spChg>
        <pc:spChg chg="add mod">
          <ac:chgData name="Peter Bartholot" userId="b40eedc225134335" providerId="LiveId" clId="{070BB936-E59E-4D9C-B099-160B1BE6C3A8}" dt="2025-09-30T08:09:55.933" v="753" actId="20577"/>
          <ac:spMkLst>
            <pc:docMk/>
            <pc:sldMk cId="2157916511" sldId="4026"/>
            <ac:spMk id="63" creationId="{D4E3A4C5-7C1F-FCAE-FCF6-A1A07BAE3D8F}"/>
          </ac:spMkLst>
        </pc:spChg>
        <pc:spChg chg="add mod">
          <ac:chgData name="Peter Bartholot" userId="b40eedc225134335" providerId="LiveId" clId="{070BB936-E59E-4D9C-B099-160B1BE6C3A8}" dt="2025-09-30T08:10:40.921" v="770" actId="14100"/>
          <ac:spMkLst>
            <pc:docMk/>
            <pc:sldMk cId="2157916511" sldId="4026"/>
            <ac:spMk id="1027" creationId="{2AFECFE9-3CD6-618D-07E0-BF851F25B3D8}"/>
          </ac:spMkLst>
        </pc:spChg>
        <pc:spChg chg="add mod">
          <ac:chgData name="Peter Bartholot" userId="b40eedc225134335" providerId="LiveId" clId="{070BB936-E59E-4D9C-B099-160B1BE6C3A8}" dt="2025-09-30T08:10:45.991" v="772" actId="20577"/>
          <ac:spMkLst>
            <pc:docMk/>
            <pc:sldMk cId="2157916511" sldId="4026"/>
            <ac:spMk id="1028" creationId="{EAA1D85E-715E-24CE-4E36-C93AF808A97D}"/>
          </ac:spMkLst>
        </pc:spChg>
        <pc:spChg chg="add del mod">
          <ac:chgData name="Peter Bartholot" userId="b40eedc225134335" providerId="LiveId" clId="{070BB936-E59E-4D9C-B099-160B1BE6C3A8}" dt="2025-09-30T08:15:02.041" v="781" actId="478"/>
          <ac:spMkLst>
            <pc:docMk/>
            <pc:sldMk cId="2157916511" sldId="4026"/>
            <ac:spMk id="1029" creationId="{55ADD73E-AF24-63AC-55EF-9437D3703681}"/>
          </ac:spMkLst>
        </pc:spChg>
        <pc:grpChg chg="mod">
          <ac:chgData name="Peter Bartholot" userId="b40eedc225134335" providerId="LiveId" clId="{070BB936-E59E-4D9C-B099-160B1BE6C3A8}" dt="2025-09-30T08:08:26.027" v="710"/>
          <ac:grpSpMkLst>
            <pc:docMk/>
            <pc:sldMk cId="2157916511" sldId="4026"/>
            <ac:grpSpMk id="39" creationId="{C6B44B88-CC25-C1C5-738B-2AAAE1488795}"/>
          </ac:grpSpMkLst>
        </pc:grpChg>
        <pc:grpChg chg="mod">
          <ac:chgData name="Peter Bartholot" userId="b40eedc225134335" providerId="LiveId" clId="{070BB936-E59E-4D9C-B099-160B1BE6C3A8}" dt="2025-09-30T08:39:10.064" v="1459"/>
          <ac:grpSpMkLst>
            <pc:docMk/>
            <pc:sldMk cId="2157916511" sldId="4026"/>
            <ac:grpSpMk id="1038" creationId="{DA9E5F7B-A04F-FC27-A17D-A3025A2BA951}"/>
          </ac:grpSpMkLst>
        </pc:grpChg>
        <pc:picChg chg="add mod">
          <ac:chgData name="Peter Bartholot" userId="b40eedc225134335" providerId="LiveId" clId="{070BB936-E59E-4D9C-B099-160B1BE6C3A8}" dt="2025-09-30T07:29:49.943" v="601" actId="1076"/>
          <ac:picMkLst>
            <pc:docMk/>
            <pc:sldMk cId="2157916511" sldId="4026"/>
            <ac:picMk id="1026" creationId="{68E3ADD8-7582-8D74-3299-9D86CE5D332D}"/>
          </ac:picMkLst>
        </pc:picChg>
        <pc:inkChg chg="add">
          <ac:chgData name="Peter Bartholot" userId="b40eedc225134335" providerId="LiveId" clId="{070BB936-E59E-4D9C-B099-160B1BE6C3A8}" dt="2025-09-30T08:04:01.166" v="602" actId="9405"/>
          <ac:inkMkLst>
            <pc:docMk/>
            <pc:sldMk cId="2157916511" sldId="4026"/>
            <ac:inkMk id="2" creationId="{68677994-45A4-71F6-114A-9ABE2819299B}"/>
          </ac:inkMkLst>
        </pc:inkChg>
        <pc:inkChg chg="add mod">
          <ac:chgData name="Peter Bartholot" userId="b40eedc225134335" providerId="LiveId" clId="{070BB936-E59E-4D9C-B099-160B1BE6C3A8}" dt="2025-09-30T08:08:26.027" v="710"/>
          <ac:inkMkLst>
            <pc:docMk/>
            <pc:sldMk cId="2157916511" sldId="4026"/>
            <ac:inkMk id="35" creationId="{77A17E34-6956-1EE3-2969-717DDE89C176}"/>
          </ac:inkMkLst>
        </pc:inkChg>
        <pc:inkChg chg="add mod">
          <ac:chgData name="Peter Bartholot" userId="b40eedc225134335" providerId="LiveId" clId="{070BB936-E59E-4D9C-B099-160B1BE6C3A8}" dt="2025-09-30T08:08:26.027" v="710"/>
          <ac:inkMkLst>
            <pc:docMk/>
            <pc:sldMk cId="2157916511" sldId="4026"/>
            <ac:inkMk id="36" creationId="{7DEC2D47-A810-5961-4610-C5BDF742A442}"/>
          </ac:inkMkLst>
        </pc:inkChg>
        <pc:inkChg chg="add mod">
          <ac:chgData name="Peter Bartholot" userId="b40eedc225134335" providerId="LiveId" clId="{070BB936-E59E-4D9C-B099-160B1BE6C3A8}" dt="2025-09-30T08:08:26.027" v="710"/>
          <ac:inkMkLst>
            <pc:docMk/>
            <pc:sldMk cId="2157916511" sldId="4026"/>
            <ac:inkMk id="37" creationId="{6EEBB2CF-4525-5885-A0F5-ABD222FDC369}"/>
          </ac:inkMkLst>
        </pc:inkChg>
        <pc:inkChg chg="add mod">
          <ac:chgData name="Peter Bartholot" userId="b40eedc225134335" providerId="LiveId" clId="{070BB936-E59E-4D9C-B099-160B1BE6C3A8}" dt="2025-09-30T08:08:26.027" v="710"/>
          <ac:inkMkLst>
            <pc:docMk/>
            <pc:sldMk cId="2157916511" sldId="4026"/>
            <ac:inkMk id="38" creationId="{5433910E-5F39-8555-6551-DD055A4CD63F}"/>
          </ac:inkMkLst>
        </pc:inkChg>
        <pc:inkChg chg="add del">
          <ac:chgData name="Peter Bartholot" userId="b40eedc225134335" providerId="LiveId" clId="{070BB936-E59E-4D9C-B099-160B1BE6C3A8}" dt="2025-09-30T08:08:32.069" v="713"/>
          <ac:inkMkLst>
            <pc:docMk/>
            <pc:sldMk cId="2157916511" sldId="4026"/>
            <ac:inkMk id="40" creationId="{532F8F61-4F69-4F5C-6CA4-71949F5E5BD1}"/>
          </ac:inkMkLst>
        </pc:inkChg>
        <pc:inkChg chg="add del">
          <ac:chgData name="Peter Bartholot" userId="b40eedc225134335" providerId="LiveId" clId="{070BB936-E59E-4D9C-B099-160B1BE6C3A8}" dt="2025-09-30T08:08:32.634" v="714"/>
          <ac:inkMkLst>
            <pc:docMk/>
            <pc:sldMk cId="2157916511" sldId="4026"/>
            <ac:inkMk id="41" creationId="{96DE357E-BC5B-EE03-C957-A147C26E257F}"/>
          </ac:inkMkLst>
        </pc:inkChg>
        <pc:inkChg chg="add">
          <ac:chgData name="Peter Bartholot" userId="b40eedc225134335" providerId="LiveId" clId="{070BB936-E59E-4D9C-B099-160B1BE6C3A8}" dt="2025-09-30T08:08:34.993" v="715" actId="9405"/>
          <ac:inkMkLst>
            <pc:docMk/>
            <pc:sldMk cId="2157916511" sldId="4026"/>
            <ac:inkMk id="42" creationId="{55392AB0-F0AA-9D7B-1017-8CB22E72BA5D}"/>
          </ac:inkMkLst>
        </pc:inkChg>
        <pc:inkChg chg="add">
          <ac:chgData name="Peter Bartholot" userId="b40eedc225134335" providerId="LiveId" clId="{070BB936-E59E-4D9C-B099-160B1BE6C3A8}" dt="2025-09-30T08:08:36.076" v="716" actId="9405"/>
          <ac:inkMkLst>
            <pc:docMk/>
            <pc:sldMk cId="2157916511" sldId="4026"/>
            <ac:inkMk id="43" creationId="{C832A6D6-52D5-A5DB-9BC3-EC122C5035E2}"/>
          </ac:inkMkLst>
        </pc:inkChg>
        <pc:inkChg chg="add">
          <ac:chgData name="Peter Bartholot" userId="b40eedc225134335" providerId="LiveId" clId="{070BB936-E59E-4D9C-B099-160B1BE6C3A8}" dt="2025-09-30T08:08:37.352" v="717" actId="9405"/>
          <ac:inkMkLst>
            <pc:docMk/>
            <pc:sldMk cId="2157916511" sldId="4026"/>
            <ac:inkMk id="44" creationId="{09A45F04-8F2B-4B31-999C-79C842FE2076}"/>
          </ac:inkMkLst>
        </pc:inkChg>
        <pc:inkChg chg="add">
          <ac:chgData name="Peter Bartholot" userId="b40eedc225134335" providerId="LiveId" clId="{070BB936-E59E-4D9C-B099-160B1BE6C3A8}" dt="2025-09-30T08:08:38.272" v="718" actId="9405"/>
          <ac:inkMkLst>
            <pc:docMk/>
            <pc:sldMk cId="2157916511" sldId="4026"/>
            <ac:inkMk id="45" creationId="{33CD870A-28D7-34F9-ECBF-0C4CD1BF230C}"/>
          </ac:inkMkLst>
        </pc:inkChg>
        <pc:inkChg chg="add">
          <ac:chgData name="Peter Bartholot" userId="b40eedc225134335" providerId="LiveId" clId="{070BB936-E59E-4D9C-B099-160B1BE6C3A8}" dt="2025-09-30T08:38:18.585" v="1454" actId="9405"/>
          <ac:inkMkLst>
            <pc:docMk/>
            <pc:sldMk cId="2157916511" sldId="4026"/>
            <ac:inkMk id="1033" creationId="{52F1081E-3FFB-1D33-D472-7A6D815943C7}"/>
          </ac:inkMkLst>
        </pc:inkChg>
        <pc:inkChg chg="add">
          <ac:chgData name="Peter Bartholot" userId="b40eedc225134335" providerId="LiveId" clId="{070BB936-E59E-4D9C-B099-160B1BE6C3A8}" dt="2025-09-30T08:38:21.676" v="1455" actId="9405"/>
          <ac:inkMkLst>
            <pc:docMk/>
            <pc:sldMk cId="2157916511" sldId="4026"/>
            <ac:inkMk id="1034" creationId="{4597AA9B-02A2-7B40-D565-9F29C3FEBCF0}"/>
          </ac:inkMkLst>
        </pc:inkChg>
        <pc:inkChg chg="add">
          <ac:chgData name="Peter Bartholot" userId="b40eedc225134335" providerId="LiveId" clId="{070BB936-E59E-4D9C-B099-160B1BE6C3A8}" dt="2025-09-30T08:39:07.103" v="1456" actId="9405"/>
          <ac:inkMkLst>
            <pc:docMk/>
            <pc:sldMk cId="2157916511" sldId="4026"/>
            <ac:inkMk id="1035" creationId="{B947A1FA-64AB-A788-3E01-6A865CACD55E}"/>
          </ac:inkMkLst>
        </pc:inkChg>
        <pc:inkChg chg="add mod">
          <ac:chgData name="Peter Bartholot" userId="b40eedc225134335" providerId="LiveId" clId="{070BB936-E59E-4D9C-B099-160B1BE6C3A8}" dt="2025-09-30T08:39:10.064" v="1459"/>
          <ac:inkMkLst>
            <pc:docMk/>
            <pc:sldMk cId="2157916511" sldId="4026"/>
            <ac:inkMk id="1036" creationId="{50FCD8F1-F1C4-A43C-DE3A-A27647182F98}"/>
          </ac:inkMkLst>
        </pc:inkChg>
        <pc:inkChg chg="add mod">
          <ac:chgData name="Peter Bartholot" userId="b40eedc225134335" providerId="LiveId" clId="{070BB936-E59E-4D9C-B099-160B1BE6C3A8}" dt="2025-09-30T08:39:10.064" v="1459"/>
          <ac:inkMkLst>
            <pc:docMk/>
            <pc:sldMk cId="2157916511" sldId="4026"/>
            <ac:inkMk id="1037" creationId="{6BABE1B2-0C29-151C-BEB2-2E3FD397046D}"/>
          </ac:inkMkLst>
        </pc:inkChg>
        <pc:cxnChg chg="add">
          <ac:chgData name="Peter Bartholot" userId="b40eedc225134335" providerId="LiveId" clId="{070BB936-E59E-4D9C-B099-160B1BE6C3A8}" dt="2025-09-30T08:05:55.350" v="641" actId="11529"/>
          <ac:cxnSpMkLst>
            <pc:docMk/>
            <pc:sldMk cId="2157916511" sldId="4026"/>
            <ac:cxnSpMk id="8" creationId="{670E09A4-B102-6C4B-5378-DF3934402C4A}"/>
          </ac:cxnSpMkLst>
        </pc:cxnChg>
        <pc:cxnChg chg="add mod">
          <ac:chgData name="Peter Bartholot" userId="b40eedc225134335" providerId="LiveId" clId="{070BB936-E59E-4D9C-B099-160B1BE6C3A8}" dt="2025-09-30T08:06:09.189" v="648" actId="14100"/>
          <ac:cxnSpMkLst>
            <pc:docMk/>
            <pc:sldMk cId="2157916511" sldId="4026"/>
            <ac:cxnSpMk id="11" creationId="{86526D0B-9431-C9FB-3CBA-81443F614CE8}"/>
          </ac:cxnSpMkLst>
        </pc:cxnChg>
        <pc:cxnChg chg="add mod">
          <ac:chgData name="Peter Bartholot" userId="b40eedc225134335" providerId="LiveId" clId="{070BB936-E59E-4D9C-B099-160B1BE6C3A8}" dt="2025-09-30T08:06:45.704" v="660" actId="1076"/>
          <ac:cxnSpMkLst>
            <pc:docMk/>
            <pc:sldMk cId="2157916511" sldId="4026"/>
            <ac:cxnSpMk id="15" creationId="{C1583306-8405-3480-CBAD-5A401D5BC8BA}"/>
          </ac:cxnSpMkLst>
        </pc:cxnChg>
        <pc:cxnChg chg="add mod">
          <ac:chgData name="Peter Bartholot" userId="b40eedc225134335" providerId="LiveId" clId="{070BB936-E59E-4D9C-B099-160B1BE6C3A8}" dt="2025-09-30T08:07:07.982" v="672" actId="14100"/>
          <ac:cxnSpMkLst>
            <pc:docMk/>
            <pc:sldMk cId="2157916511" sldId="4026"/>
            <ac:cxnSpMk id="18" creationId="{9B71C3FF-9315-742A-FD5F-99FC5BA39178}"/>
          </ac:cxnSpMkLst>
        </pc:cxnChg>
        <pc:cxnChg chg="add">
          <ac:chgData name="Peter Bartholot" userId="b40eedc225134335" providerId="LiveId" clId="{070BB936-E59E-4D9C-B099-160B1BE6C3A8}" dt="2025-09-30T08:07:11.943" v="673" actId="11529"/>
          <ac:cxnSpMkLst>
            <pc:docMk/>
            <pc:sldMk cId="2157916511" sldId="4026"/>
            <ac:cxnSpMk id="21" creationId="{29D3A383-552F-D429-303F-1832B1052DA5}"/>
          </ac:cxnSpMkLst>
        </pc:cxnChg>
        <pc:cxnChg chg="add mod">
          <ac:chgData name="Peter Bartholot" userId="b40eedc225134335" providerId="LiveId" clId="{070BB936-E59E-4D9C-B099-160B1BE6C3A8}" dt="2025-09-30T08:08:00.340" v="703" actId="14100"/>
          <ac:cxnSpMkLst>
            <pc:docMk/>
            <pc:sldMk cId="2157916511" sldId="4026"/>
            <ac:cxnSpMk id="29" creationId="{2BC44F54-A522-3F19-5700-A3369F54948F}"/>
          </ac:cxnSpMkLst>
        </pc:cxnChg>
        <pc:cxnChg chg="add">
          <ac:chgData name="Peter Bartholot" userId="b40eedc225134335" providerId="LiveId" clId="{070BB936-E59E-4D9C-B099-160B1BE6C3A8}" dt="2025-09-30T08:08:03.597" v="704" actId="11529"/>
          <ac:cxnSpMkLst>
            <pc:docMk/>
            <pc:sldMk cId="2157916511" sldId="4026"/>
            <ac:cxnSpMk id="32" creationId="{605D14FD-635F-623B-B192-B0DECD091C37}"/>
          </ac:cxnSpMkLst>
        </pc:cxnChg>
        <pc:cxnChg chg="add">
          <ac:chgData name="Peter Bartholot" userId="b40eedc225134335" providerId="LiveId" clId="{070BB936-E59E-4D9C-B099-160B1BE6C3A8}" dt="2025-09-30T08:08:13.532" v="705" actId="11529"/>
          <ac:cxnSpMkLst>
            <pc:docMk/>
            <pc:sldMk cId="2157916511" sldId="4026"/>
            <ac:cxnSpMk id="34" creationId="{A47E67E1-AF90-3635-0866-C1F3FC30A8A8}"/>
          </ac:cxnSpMkLst>
        </pc:cxnChg>
        <pc:cxnChg chg="add">
          <ac:chgData name="Peter Bartholot" userId="b40eedc225134335" providerId="LiveId" clId="{070BB936-E59E-4D9C-B099-160B1BE6C3A8}" dt="2025-09-30T08:09:05.747" v="734" actId="11529"/>
          <ac:cxnSpMkLst>
            <pc:docMk/>
            <pc:sldMk cId="2157916511" sldId="4026"/>
            <ac:cxnSpMk id="50" creationId="{4C0D0877-E8A2-29BD-9938-B1081786D0FE}"/>
          </ac:cxnSpMkLst>
        </pc:cxnChg>
        <pc:cxnChg chg="add">
          <ac:chgData name="Peter Bartholot" userId="b40eedc225134335" providerId="LiveId" clId="{070BB936-E59E-4D9C-B099-160B1BE6C3A8}" dt="2025-09-30T08:09:09.558" v="735" actId="11529"/>
          <ac:cxnSpMkLst>
            <pc:docMk/>
            <pc:sldMk cId="2157916511" sldId="4026"/>
            <ac:cxnSpMk id="52" creationId="{20CB31C7-FB69-06A5-97F1-779A9F151E3F}"/>
          </ac:cxnSpMkLst>
        </pc:cxnChg>
        <pc:cxnChg chg="add">
          <ac:chgData name="Peter Bartholot" userId="b40eedc225134335" providerId="LiveId" clId="{070BB936-E59E-4D9C-B099-160B1BE6C3A8}" dt="2025-09-30T08:09:43.607" v="746" actId="11529"/>
          <ac:cxnSpMkLst>
            <pc:docMk/>
            <pc:sldMk cId="2157916511" sldId="4026"/>
            <ac:cxnSpMk id="59" creationId="{806FE2ED-7726-D106-6B8E-5ECA9AC57A3D}"/>
          </ac:cxnSpMkLst>
        </pc:cxnChg>
        <pc:cxnChg chg="add">
          <ac:chgData name="Peter Bartholot" userId="b40eedc225134335" providerId="LiveId" clId="{070BB936-E59E-4D9C-B099-160B1BE6C3A8}" dt="2025-09-30T08:09:47.363" v="747" actId="11529"/>
          <ac:cxnSpMkLst>
            <pc:docMk/>
            <pc:sldMk cId="2157916511" sldId="4026"/>
            <ac:cxnSpMk id="61" creationId="{C8C5EB8E-1269-F359-53F6-B319E78202C4}"/>
          </ac:cxnSpMkLst>
        </pc:cxnChg>
        <pc:cxnChg chg="add mod">
          <ac:chgData name="Peter Bartholot" userId="b40eedc225134335" providerId="LiveId" clId="{070BB936-E59E-4D9C-B099-160B1BE6C3A8}" dt="2025-09-30T08:10:00.102" v="754" actId="11529"/>
          <ac:cxnSpMkLst>
            <pc:docMk/>
            <pc:sldMk cId="2157916511" sldId="4026"/>
            <ac:cxnSpMk id="1025" creationId="{AD263C14-31E3-53FC-81C3-043D8D72F466}"/>
          </ac:cxnSpMkLst>
        </pc:cxnChg>
        <pc:cxnChg chg="add del mod">
          <ac:chgData name="Peter Bartholot" userId="b40eedc225134335" providerId="LiveId" clId="{070BB936-E59E-4D9C-B099-160B1BE6C3A8}" dt="2025-09-30T08:15:02.041" v="781" actId="478"/>
          <ac:cxnSpMkLst>
            <pc:docMk/>
            <pc:sldMk cId="2157916511" sldId="4026"/>
            <ac:cxnSpMk id="1031" creationId="{E7AD1C2E-BCC6-0C32-D4C3-2CFAD0133201}"/>
          </ac:cxnSpMkLst>
        </pc:cxnChg>
      </pc:sldChg>
      <pc:sldChg chg="addSp modSp add mod">
        <pc:chgData name="Peter Bartholot" userId="b40eedc225134335" providerId="LiveId" clId="{070BB936-E59E-4D9C-B099-160B1BE6C3A8}" dt="2025-09-30T10:11:37.689" v="3226" actId="1076"/>
        <pc:sldMkLst>
          <pc:docMk/>
          <pc:sldMk cId="1131047645" sldId="4027"/>
        </pc:sldMkLst>
        <pc:spChg chg="add mod">
          <ac:chgData name="Peter Bartholot" userId="b40eedc225134335" providerId="LiveId" clId="{070BB936-E59E-4D9C-B099-160B1BE6C3A8}" dt="2025-09-30T10:11:35.446" v="3225" actId="14100"/>
          <ac:spMkLst>
            <pc:docMk/>
            <pc:sldMk cId="1131047645" sldId="4027"/>
            <ac:spMk id="2" creationId="{7BCEF02B-3A63-98CD-3F3B-56710D999ACA}"/>
          </ac:spMkLst>
        </pc:spChg>
        <pc:spChg chg="add mod">
          <ac:chgData name="Peter Bartholot" userId="b40eedc225134335" providerId="LiveId" clId="{070BB936-E59E-4D9C-B099-160B1BE6C3A8}" dt="2025-09-30T08:19:21.318" v="873" actId="14100"/>
          <ac:spMkLst>
            <pc:docMk/>
            <pc:sldMk cId="1131047645" sldId="4027"/>
            <ac:spMk id="5" creationId="{C7A20502-C725-89E3-E9DF-A7DEE2C95009}"/>
          </ac:spMkLst>
        </pc:spChg>
        <pc:spChg chg="add mod">
          <ac:chgData name="Peter Bartholot" userId="b40eedc225134335" providerId="LiveId" clId="{070BB936-E59E-4D9C-B099-160B1BE6C3A8}" dt="2025-09-30T10:11:37.689" v="3226" actId="1076"/>
          <ac:spMkLst>
            <pc:docMk/>
            <pc:sldMk cId="1131047645" sldId="4027"/>
            <ac:spMk id="6" creationId="{49CF2EB3-BC05-9EC4-4754-098679BD4215}"/>
          </ac:spMkLst>
        </pc:spChg>
        <pc:spChg chg="add mod">
          <ac:chgData name="Peter Bartholot" userId="b40eedc225134335" providerId="LiveId" clId="{070BB936-E59E-4D9C-B099-160B1BE6C3A8}" dt="2025-09-30T08:25:30.571" v="1058" actId="20577"/>
          <ac:spMkLst>
            <pc:docMk/>
            <pc:sldMk cId="1131047645" sldId="4027"/>
            <ac:spMk id="7" creationId="{20FE6BC5-7133-97B4-75D9-4FDE12BE1059}"/>
          </ac:spMkLst>
        </pc:spChg>
        <pc:spChg chg="add mod">
          <ac:chgData name="Peter Bartholot" userId="b40eedc225134335" providerId="LiveId" clId="{070BB936-E59E-4D9C-B099-160B1BE6C3A8}" dt="2025-09-30T08:26:05.727" v="1091" actId="14100"/>
          <ac:spMkLst>
            <pc:docMk/>
            <pc:sldMk cId="1131047645" sldId="4027"/>
            <ac:spMk id="8" creationId="{A2C6F190-4587-C559-C1EE-B67DEEDA9EC1}"/>
          </ac:spMkLst>
        </pc:spChg>
        <pc:cxnChg chg="add">
          <ac:chgData name="Peter Bartholot" userId="b40eedc225134335" providerId="LiveId" clId="{070BB936-E59E-4D9C-B099-160B1BE6C3A8}" dt="2025-09-30T08:19:07.317" v="847" actId="11529"/>
          <ac:cxnSpMkLst>
            <pc:docMk/>
            <pc:sldMk cId="1131047645" sldId="4027"/>
            <ac:cxnSpMk id="4" creationId="{30FE9AFD-10CC-F968-DCE3-264297A52EED}"/>
          </ac:cxnSpMkLst>
        </pc:cxnChg>
      </pc:sldChg>
      <pc:sldChg chg="addSp modSp add mod replId">
        <pc:chgData name="Peter Bartholot" userId="b40eedc225134335" providerId="LiveId" clId="{070BB936-E59E-4D9C-B099-160B1BE6C3A8}" dt="2025-09-30T08:30:51.715" v="1216" actId="20577"/>
        <pc:sldMkLst>
          <pc:docMk/>
          <pc:sldMk cId="3746790425" sldId="4028"/>
        </pc:sldMkLst>
        <pc:spChg chg="add mod">
          <ac:chgData name="Peter Bartholot" userId="b40eedc225134335" providerId="LiveId" clId="{070BB936-E59E-4D9C-B099-160B1BE6C3A8}" dt="2025-09-30T08:29:42.360" v="1160" actId="20577"/>
          <ac:spMkLst>
            <pc:docMk/>
            <pc:sldMk cId="3746790425" sldId="4028"/>
            <ac:spMk id="3" creationId="{A21DD8D9-5D36-7994-5020-F440D25585FC}"/>
          </ac:spMkLst>
        </pc:spChg>
        <pc:spChg chg="add mod">
          <ac:chgData name="Peter Bartholot" userId="b40eedc225134335" providerId="LiveId" clId="{070BB936-E59E-4D9C-B099-160B1BE6C3A8}" dt="2025-09-30T08:30:51.715" v="1216" actId="20577"/>
          <ac:spMkLst>
            <pc:docMk/>
            <pc:sldMk cId="3746790425" sldId="4028"/>
            <ac:spMk id="4" creationId="{E7B1BA02-7724-D8CB-4568-B2ACC6D7D3C0}"/>
          </ac:spMkLst>
        </pc:spChg>
      </pc:sldChg>
      <pc:sldChg chg="addSp modSp add mod replId">
        <pc:chgData name="Peter Bartholot" userId="b40eedc225134335" providerId="LiveId" clId="{070BB936-E59E-4D9C-B099-160B1BE6C3A8}" dt="2025-09-30T08:35:48.109" v="1446" actId="20577"/>
        <pc:sldMkLst>
          <pc:docMk/>
          <pc:sldMk cId="163549289" sldId="4029"/>
        </pc:sldMkLst>
        <pc:spChg chg="add mod">
          <ac:chgData name="Peter Bartholot" userId="b40eedc225134335" providerId="LiveId" clId="{070BB936-E59E-4D9C-B099-160B1BE6C3A8}" dt="2025-09-30T08:31:12.585" v="1219" actId="14100"/>
          <ac:spMkLst>
            <pc:docMk/>
            <pc:sldMk cId="163549289" sldId="4029"/>
            <ac:spMk id="3" creationId="{3A49D5D8-500B-441C-036E-17A75DFF1C24}"/>
          </ac:spMkLst>
        </pc:spChg>
        <pc:spChg chg="add mod">
          <ac:chgData name="Peter Bartholot" userId="b40eedc225134335" providerId="LiveId" clId="{070BB936-E59E-4D9C-B099-160B1BE6C3A8}" dt="2025-09-30T08:34:46.290" v="1417" actId="20577"/>
          <ac:spMkLst>
            <pc:docMk/>
            <pc:sldMk cId="163549289" sldId="4029"/>
            <ac:spMk id="4" creationId="{A7A65C00-ADE7-FE70-6F47-4A3B00A6B327}"/>
          </ac:spMkLst>
        </pc:spChg>
        <pc:spChg chg="add mod">
          <ac:chgData name="Peter Bartholot" userId="b40eedc225134335" providerId="LiveId" clId="{070BB936-E59E-4D9C-B099-160B1BE6C3A8}" dt="2025-09-30T08:35:11.808" v="1424" actId="20577"/>
          <ac:spMkLst>
            <pc:docMk/>
            <pc:sldMk cId="163549289" sldId="4029"/>
            <ac:spMk id="7" creationId="{53399033-DD15-3329-7A03-295172F8A91D}"/>
          </ac:spMkLst>
        </pc:spChg>
        <pc:spChg chg="add mod">
          <ac:chgData name="Peter Bartholot" userId="b40eedc225134335" providerId="LiveId" clId="{070BB936-E59E-4D9C-B099-160B1BE6C3A8}" dt="2025-09-30T08:35:36.066" v="1440" actId="20577"/>
          <ac:spMkLst>
            <pc:docMk/>
            <pc:sldMk cId="163549289" sldId="4029"/>
            <ac:spMk id="8" creationId="{F853171E-D8C7-C58F-3F38-AFB13B90C4A8}"/>
          </ac:spMkLst>
        </pc:spChg>
        <pc:spChg chg="add mod">
          <ac:chgData name="Peter Bartholot" userId="b40eedc225134335" providerId="LiveId" clId="{070BB936-E59E-4D9C-B099-160B1BE6C3A8}" dt="2025-09-30T08:35:48.109" v="1446" actId="20577"/>
          <ac:spMkLst>
            <pc:docMk/>
            <pc:sldMk cId="163549289" sldId="4029"/>
            <ac:spMk id="9" creationId="{B2F47924-E1DC-FC2F-A11C-A4EC415AF397}"/>
          </ac:spMkLst>
        </pc:spChg>
        <pc:cxnChg chg="add">
          <ac:chgData name="Peter Bartholot" userId="b40eedc225134335" providerId="LiveId" clId="{070BB936-E59E-4D9C-B099-160B1BE6C3A8}" dt="2025-09-30T08:35:08.001" v="1418" actId="11529"/>
          <ac:cxnSpMkLst>
            <pc:docMk/>
            <pc:sldMk cId="163549289" sldId="4029"/>
            <ac:cxnSpMk id="6" creationId="{E774BB2C-8C81-5339-422F-45571339CDFC}"/>
          </ac:cxnSpMkLst>
        </pc:cxnChg>
      </pc:sldChg>
      <pc:sldChg chg="addSp modSp add mod">
        <pc:chgData name="Peter Bartholot" userId="b40eedc225134335" providerId="LiveId" clId="{070BB936-E59E-4D9C-B099-160B1BE6C3A8}" dt="2025-09-30T09:12:25.977" v="2386" actId="1076"/>
        <pc:sldMkLst>
          <pc:docMk/>
          <pc:sldMk cId="3689395905" sldId="4030"/>
        </pc:sldMkLst>
        <pc:spChg chg="add mod">
          <ac:chgData name="Peter Bartholot" userId="b40eedc225134335" providerId="LiveId" clId="{070BB936-E59E-4D9C-B099-160B1BE6C3A8}" dt="2025-09-30T08:37:21.657" v="1449" actId="14100"/>
          <ac:spMkLst>
            <pc:docMk/>
            <pc:sldMk cId="3689395905" sldId="4030"/>
            <ac:spMk id="3" creationId="{AD611F83-CCC6-7A45-F96E-E9D5945F1D56}"/>
          </ac:spMkLst>
        </pc:spChg>
        <pc:spChg chg="add mod">
          <ac:chgData name="Peter Bartholot" userId="b40eedc225134335" providerId="LiveId" clId="{070BB936-E59E-4D9C-B099-160B1BE6C3A8}" dt="2025-09-30T08:37:46.528" v="1451"/>
          <ac:spMkLst>
            <pc:docMk/>
            <pc:sldMk cId="3689395905" sldId="4030"/>
            <ac:spMk id="5" creationId="{8B3E44ED-0743-A97D-112A-05A31F840AEA}"/>
          </ac:spMkLst>
        </pc:spChg>
        <pc:spChg chg="add mod">
          <ac:chgData name="Peter Bartholot" userId="b40eedc225134335" providerId="LiveId" clId="{070BB936-E59E-4D9C-B099-160B1BE6C3A8}" dt="2025-09-30T09:12:15.826" v="2385" actId="20577"/>
          <ac:spMkLst>
            <pc:docMk/>
            <pc:sldMk cId="3689395905" sldId="4030"/>
            <ac:spMk id="7" creationId="{7E2C5C77-45AE-9C38-F07D-132059B7E708}"/>
          </ac:spMkLst>
        </pc:spChg>
        <pc:spChg chg="add mod">
          <ac:chgData name="Peter Bartholot" userId="b40eedc225134335" providerId="LiveId" clId="{070BB936-E59E-4D9C-B099-160B1BE6C3A8}" dt="2025-09-30T09:03:43.966" v="2149" actId="20577"/>
          <ac:spMkLst>
            <pc:docMk/>
            <pc:sldMk cId="3689395905" sldId="4030"/>
            <ac:spMk id="8" creationId="{3A82792A-DF9A-393B-F1F1-494978FC6834}"/>
          </ac:spMkLst>
        </pc:spChg>
        <pc:spChg chg="add mod">
          <ac:chgData name="Peter Bartholot" userId="b40eedc225134335" providerId="LiveId" clId="{070BB936-E59E-4D9C-B099-160B1BE6C3A8}" dt="2025-09-30T09:05:05.486" v="2203" actId="1076"/>
          <ac:spMkLst>
            <pc:docMk/>
            <pc:sldMk cId="3689395905" sldId="4030"/>
            <ac:spMk id="10" creationId="{BA57BAD3-E5FB-37E0-A107-6985269A9739}"/>
          </ac:spMkLst>
        </pc:spChg>
        <pc:spChg chg="add mod">
          <ac:chgData name="Peter Bartholot" userId="b40eedc225134335" providerId="LiveId" clId="{070BB936-E59E-4D9C-B099-160B1BE6C3A8}" dt="2025-09-30T09:12:25.977" v="2386" actId="1076"/>
          <ac:spMkLst>
            <pc:docMk/>
            <pc:sldMk cId="3689395905" sldId="4030"/>
            <ac:spMk id="11" creationId="{C755DC0B-2376-E897-0EAF-DAEDFA520622}"/>
          </ac:spMkLst>
        </pc:spChg>
        <pc:graphicFrameChg chg="add mod">
          <ac:chgData name="Peter Bartholot" userId="b40eedc225134335" providerId="LiveId" clId="{070BB936-E59E-4D9C-B099-160B1BE6C3A8}" dt="2025-09-30T08:37:42.606" v="1450"/>
          <ac:graphicFrameMkLst>
            <pc:docMk/>
            <pc:sldMk cId="3689395905" sldId="4030"/>
            <ac:graphicFrameMk id="4" creationId="{02D9F777-F6E7-65A4-22FE-73AC96367D51}"/>
          </ac:graphicFrameMkLst>
        </pc:graphicFrameChg>
        <pc:graphicFrameChg chg="add mod">
          <ac:chgData name="Peter Bartholot" userId="b40eedc225134335" providerId="LiveId" clId="{070BB936-E59E-4D9C-B099-160B1BE6C3A8}" dt="2025-09-30T08:37:55.516" v="1453" actId="1076"/>
          <ac:graphicFrameMkLst>
            <pc:docMk/>
            <pc:sldMk cId="3689395905" sldId="4030"/>
            <ac:graphicFrameMk id="6" creationId="{2D3CA2A6-57BA-A0F8-C5EC-E8D7A804BA5D}"/>
          </ac:graphicFrameMkLst>
        </pc:graphicFrameChg>
      </pc:sldChg>
      <pc:sldChg chg="addSp delSp modSp add mod replId">
        <pc:chgData name="Peter Bartholot" userId="b40eedc225134335" providerId="LiveId" clId="{070BB936-E59E-4D9C-B099-160B1BE6C3A8}" dt="2025-09-30T08:51:19.054" v="1797" actId="20577"/>
        <pc:sldMkLst>
          <pc:docMk/>
          <pc:sldMk cId="871970042" sldId="4031"/>
        </pc:sldMkLst>
        <pc:spChg chg="add mod">
          <ac:chgData name="Peter Bartholot" userId="b40eedc225134335" providerId="LiveId" clId="{070BB936-E59E-4D9C-B099-160B1BE6C3A8}" dt="2025-09-30T08:49:52.965" v="1677" actId="20577"/>
          <ac:spMkLst>
            <pc:docMk/>
            <pc:sldMk cId="871970042" sldId="4031"/>
            <ac:spMk id="2" creationId="{3B112657-0048-753C-F31E-96BA7D22DC1C}"/>
          </ac:spMkLst>
        </pc:spChg>
        <pc:spChg chg="add mod">
          <ac:chgData name="Peter Bartholot" userId="b40eedc225134335" providerId="LiveId" clId="{070BB936-E59E-4D9C-B099-160B1BE6C3A8}" dt="2025-09-30T08:48:44.974" v="1615" actId="20577"/>
          <ac:spMkLst>
            <pc:docMk/>
            <pc:sldMk cId="871970042" sldId="4031"/>
            <ac:spMk id="3" creationId="{ED79E6F2-5390-4923-B377-01A42062E167}"/>
          </ac:spMkLst>
        </pc:spChg>
        <pc:spChg chg="add mod">
          <ac:chgData name="Peter Bartholot" userId="b40eedc225134335" providerId="LiveId" clId="{070BB936-E59E-4D9C-B099-160B1BE6C3A8}" dt="2025-09-30T08:48:57.981" v="1636" actId="20577"/>
          <ac:spMkLst>
            <pc:docMk/>
            <pc:sldMk cId="871970042" sldId="4031"/>
            <ac:spMk id="12" creationId="{A378F581-1627-C282-6336-5B331F9D1C82}"/>
          </ac:spMkLst>
        </pc:spChg>
        <pc:spChg chg="add mod">
          <ac:chgData name="Peter Bartholot" userId="b40eedc225134335" providerId="LiveId" clId="{070BB936-E59E-4D9C-B099-160B1BE6C3A8}" dt="2025-09-30T08:48:20.114" v="1601" actId="20577"/>
          <ac:spMkLst>
            <pc:docMk/>
            <pc:sldMk cId="871970042" sldId="4031"/>
            <ac:spMk id="24" creationId="{99FCE6FC-1383-2A21-2088-A7DC058D0E82}"/>
          </ac:spMkLst>
        </pc:spChg>
        <pc:spChg chg="add mod">
          <ac:chgData name="Peter Bartholot" userId="b40eedc225134335" providerId="LiveId" clId="{070BB936-E59E-4D9C-B099-160B1BE6C3A8}" dt="2025-09-30T08:49:37.306" v="1657" actId="20577"/>
          <ac:spMkLst>
            <pc:docMk/>
            <pc:sldMk cId="871970042" sldId="4031"/>
            <ac:spMk id="34" creationId="{22296F17-C763-4036-B365-B7F1024711CB}"/>
          </ac:spMkLst>
        </pc:spChg>
        <pc:spChg chg="add mod">
          <ac:chgData name="Peter Bartholot" userId="b40eedc225134335" providerId="LiveId" clId="{070BB936-E59E-4D9C-B099-160B1BE6C3A8}" dt="2025-09-30T08:51:19.054" v="1797" actId="20577"/>
          <ac:spMkLst>
            <pc:docMk/>
            <pc:sldMk cId="871970042" sldId="4031"/>
            <ac:spMk id="39" creationId="{48A1CD71-1A15-9E30-7957-ED5EFC956483}"/>
          </ac:spMkLst>
        </pc:spChg>
        <pc:grpChg chg="del mod">
          <ac:chgData name="Peter Bartholot" userId="b40eedc225134335" providerId="LiveId" clId="{070BB936-E59E-4D9C-B099-160B1BE6C3A8}" dt="2025-09-30T08:47:38.130" v="1568"/>
          <ac:grpSpMkLst>
            <pc:docMk/>
            <pc:sldMk cId="871970042" sldId="4031"/>
            <ac:grpSpMk id="6" creationId="{8531990C-963A-C3AE-3C11-EDA2A2044AE3}"/>
          </ac:grpSpMkLst>
        </pc:grpChg>
        <pc:grpChg chg="mod">
          <ac:chgData name="Peter Bartholot" userId="b40eedc225134335" providerId="LiveId" clId="{070BB936-E59E-4D9C-B099-160B1BE6C3A8}" dt="2025-09-30T08:47:38.130" v="1568"/>
          <ac:grpSpMkLst>
            <pc:docMk/>
            <pc:sldMk cId="871970042" sldId="4031"/>
            <ac:grpSpMk id="11" creationId="{0B992E1F-3963-35F8-5365-43BD05A98B80}"/>
          </ac:grpSpMkLst>
        </pc:grpChg>
        <pc:grpChg chg="del mod">
          <ac:chgData name="Peter Bartholot" userId="b40eedc225134335" providerId="LiveId" clId="{070BB936-E59E-4D9C-B099-160B1BE6C3A8}" dt="2025-09-30T08:47:57.610" v="1584"/>
          <ac:grpSpMkLst>
            <pc:docMk/>
            <pc:sldMk cId="871970042" sldId="4031"/>
            <ac:grpSpMk id="15" creationId="{CBC57755-7941-F17A-ADE2-1A23747B854B}"/>
          </ac:grpSpMkLst>
        </pc:grpChg>
        <pc:grpChg chg="mod">
          <ac:chgData name="Peter Bartholot" userId="b40eedc225134335" providerId="LiveId" clId="{070BB936-E59E-4D9C-B099-160B1BE6C3A8}" dt="2025-09-30T08:47:57.610" v="1584"/>
          <ac:grpSpMkLst>
            <pc:docMk/>
            <pc:sldMk cId="871970042" sldId="4031"/>
            <ac:grpSpMk id="17" creationId="{6B46C91A-C6B3-0D1E-1C9E-06B7EC6BF50D}"/>
          </ac:grpSpMkLst>
        </pc:grpChg>
        <pc:grpChg chg="mod">
          <ac:chgData name="Peter Bartholot" userId="b40eedc225134335" providerId="LiveId" clId="{070BB936-E59E-4D9C-B099-160B1BE6C3A8}" dt="2025-09-30T08:48:08.936" v="1590"/>
          <ac:grpSpMkLst>
            <pc:docMk/>
            <pc:sldMk cId="871970042" sldId="4031"/>
            <ac:grpSpMk id="23" creationId="{927D1148-25EA-E6BA-5E5E-CD807E1011E2}"/>
          </ac:grpSpMkLst>
        </pc:grpChg>
        <pc:grpChg chg="mod">
          <ac:chgData name="Peter Bartholot" userId="b40eedc225134335" providerId="LiveId" clId="{070BB936-E59E-4D9C-B099-160B1BE6C3A8}" dt="2025-09-30T08:48:31.031" v="1605"/>
          <ac:grpSpMkLst>
            <pc:docMk/>
            <pc:sldMk cId="871970042" sldId="4031"/>
            <ac:grpSpMk id="28" creationId="{D6491380-9A19-4F38-DC6E-9FEE0B643B79}"/>
          </ac:grpSpMkLst>
        </pc:grpChg>
        <pc:grpChg chg="del mod">
          <ac:chgData name="Peter Bartholot" userId="b40eedc225134335" providerId="LiveId" clId="{070BB936-E59E-4D9C-B099-160B1BE6C3A8}" dt="2025-09-30T08:48:35.693" v="1610"/>
          <ac:grpSpMkLst>
            <pc:docMk/>
            <pc:sldMk cId="871970042" sldId="4031"/>
            <ac:grpSpMk id="31" creationId="{ABD4EDFF-D88D-314C-9A2F-833F506E83B9}"/>
          </ac:grpSpMkLst>
        </pc:grpChg>
        <pc:grpChg chg="mod">
          <ac:chgData name="Peter Bartholot" userId="b40eedc225134335" providerId="LiveId" clId="{070BB936-E59E-4D9C-B099-160B1BE6C3A8}" dt="2025-09-30T08:48:35.693" v="1610"/>
          <ac:grpSpMkLst>
            <pc:docMk/>
            <pc:sldMk cId="871970042" sldId="4031"/>
            <ac:grpSpMk id="33" creationId="{C22E6DCA-0101-0BD4-7A6E-E7C70318CFF0}"/>
          </ac:grpSpMkLst>
        </pc:grpChg>
        <pc:grpChg chg="mod">
          <ac:chgData name="Peter Bartholot" userId="b40eedc225134335" providerId="LiveId" clId="{070BB936-E59E-4D9C-B099-160B1BE6C3A8}" dt="2025-09-30T08:50:04.902" v="1681"/>
          <ac:grpSpMkLst>
            <pc:docMk/>
            <pc:sldMk cId="871970042" sldId="4031"/>
            <ac:grpSpMk id="38" creationId="{0DD17D65-E48D-F3C0-308F-0504E6DE5BC8}"/>
          </ac:grpSpMkLst>
        </pc:grpChg>
        <pc:inkChg chg="add mod">
          <ac:chgData name="Peter Bartholot" userId="b40eedc225134335" providerId="LiveId" clId="{070BB936-E59E-4D9C-B099-160B1BE6C3A8}" dt="2025-09-30T08:47:38.130" v="1568"/>
          <ac:inkMkLst>
            <pc:docMk/>
            <pc:sldMk cId="871970042" sldId="4031"/>
            <ac:inkMk id="4" creationId="{4662F904-DEB2-CF85-AD34-C7FF6878EE4E}"/>
          </ac:inkMkLst>
        </pc:inkChg>
        <pc:inkChg chg="add mod">
          <ac:chgData name="Peter Bartholot" userId="b40eedc225134335" providerId="LiveId" clId="{070BB936-E59E-4D9C-B099-160B1BE6C3A8}" dt="2025-09-30T08:47:38.130" v="1568"/>
          <ac:inkMkLst>
            <pc:docMk/>
            <pc:sldMk cId="871970042" sldId="4031"/>
            <ac:inkMk id="5" creationId="{B64F7660-DDF3-4DD0-5ED9-1C10D8580616}"/>
          </ac:inkMkLst>
        </pc:inkChg>
        <pc:inkChg chg="add mod">
          <ac:chgData name="Peter Bartholot" userId="b40eedc225134335" providerId="LiveId" clId="{070BB936-E59E-4D9C-B099-160B1BE6C3A8}" dt="2025-09-30T08:47:38.130" v="1568"/>
          <ac:inkMkLst>
            <pc:docMk/>
            <pc:sldMk cId="871970042" sldId="4031"/>
            <ac:inkMk id="7" creationId="{0D73BC37-3716-562D-084B-C7DE953C70A3}"/>
          </ac:inkMkLst>
        </pc:inkChg>
        <pc:inkChg chg="add mod">
          <ac:chgData name="Peter Bartholot" userId="b40eedc225134335" providerId="LiveId" clId="{070BB936-E59E-4D9C-B099-160B1BE6C3A8}" dt="2025-09-30T08:47:38.130" v="1568"/>
          <ac:inkMkLst>
            <pc:docMk/>
            <pc:sldMk cId="871970042" sldId="4031"/>
            <ac:inkMk id="8" creationId="{189D4ADF-1A62-D2F9-9F24-5065704FC234}"/>
          </ac:inkMkLst>
        </pc:inkChg>
        <pc:inkChg chg="add mod">
          <ac:chgData name="Peter Bartholot" userId="b40eedc225134335" providerId="LiveId" clId="{070BB936-E59E-4D9C-B099-160B1BE6C3A8}" dt="2025-09-30T08:47:38.130" v="1568"/>
          <ac:inkMkLst>
            <pc:docMk/>
            <pc:sldMk cId="871970042" sldId="4031"/>
            <ac:inkMk id="9" creationId="{50DD9F22-E1EA-DAD0-2110-A1BDE735CDD8}"/>
          </ac:inkMkLst>
        </pc:inkChg>
        <pc:inkChg chg="add mod">
          <ac:chgData name="Peter Bartholot" userId="b40eedc225134335" providerId="LiveId" clId="{070BB936-E59E-4D9C-B099-160B1BE6C3A8}" dt="2025-09-30T08:47:38.130" v="1568"/>
          <ac:inkMkLst>
            <pc:docMk/>
            <pc:sldMk cId="871970042" sldId="4031"/>
            <ac:inkMk id="10" creationId="{7F2FFFF8-8FF9-931E-248F-F97765F95447}"/>
          </ac:inkMkLst>
        </pc:inkChg>
        <pc:inkChg chg="add mod">
          <ac:chgData name="Peter Bartholot" userId="b40eedc225134335" providerId="LiveId" clId="{070BB936-E59E-4D9C-B099-160B1BE6C3A8}" dt="2025-09-30T08:47:57.610" v="1584"/>
          <ac:inkMkLst>
            <pc:docMk/>
            <pc:sldMk cId="871970042" sldId="4031"/>
            <ac:inkMk id="13" creationId="{8370AD81-735A-A160-6E50-7C46A6754BD0}"/>
          </ac:inkMkLst>
        </pc:inkChg>
        <pc:inkChg chg="add mod">
          <ac:chgData name="Peter Bartholot" userId="b40eedc225134335" providerId="LiveId" clId="{070BB936-E59E-4D9C-B099-160B1BE6C3A8}" dt="2025-09-30T08:47:57.610" v="1584"/>
          <ac:inkMkLst>
            <pc:docMk/>
            <pc:sldMk cId="871970042" sldId="4031"/>
            <ac:inkMk id="14" creationId="{359D3598-EC97-6855-31D5-8F6DE7F71E27}"/>
          </ac:inkMkLst>
        </pc:inkChg>
        <pc:inkChg chg="add mod">
          <ac:chgData name="Peter Bartholot" userId="b40eedc225134335" providerId="LiveId" clId="{070BB936-E59E-4D9C-B099-160B1BE6C3A8}" dt="2025-09-30T08:47:57.610" v="1584"/>
          <ac:inkMkLst>
            <pc:docMk/>
            <pc:sldMk cId="871970042" sldId="4031"/>
            <ac:inkMk id="16" creationId="{02D6ECE1-0C43-8F53-5B4C-D0DF5422D2FC}"/>
          </ac:inkMkLst>
        </pc:inkChg>
        <pc:inkChg chg="add">
          <ac:chgData name="Peter Bartholot" userId="b40eedc225134335" providerId="LiveId" clId="{070BB936-E59E-4D9C-B099-160B1BE6C3A8}" dt="2025-09-30T08:48:02.150" v="1585" actId="9405"/>
          <ac:inkMkLst>
            <pc:docMk/>
            <pc:sldMk cId="871970042" sldId="4031"/>
            <ac:inkMk id="18" creationId="{41376C49-23DC-1636-C31B-944031B3967B}"/>
          </ac:inkMkLst>
        </pc:inkChg>
        <pc:inkChg chg="add mod">
          <ac:chgData name="Peter Bartholot" userId="b40eedc225134335" providerId="LiveId" clId="{070BB936-E59E-4D9C-B099-160B1BE6C3A8}" dt="2025-09-30T08:48:08.936" v="1590"/>
          <ac:inkMkLst>
            <pc:docMk/>
            <pc:sldMk cId="871970042" sldId="4031"/>
            <ac:inkMk id="19" creationId="{BB87AA73-8041-433A-0232-FFEF3A9E654C}"/>
          </ac:inkMkLst>
        </pc:inkChg>
        <pc:inkChg chg="add mod">
          <ac:chgData name="Peter Bartholot" userId="b40eedc225134335" providerId="LiveId" clId="{070BB936-E59E-4D9C-B099-160B1BE6C3A8}" dt="2025-09-30T08:48:08.936" v="1590"/>
          <ac:inkMkLst>
            <pc:docMk/>
            <pc:sldMk cId="871970042" sldId="4031"/>
            <ac:inkMk id="20" creationId="{7BFC1CC1-0141-C878-A63F-1A436066E660}"/>
          </ac:inkMkLst>
        </pc:inkChg>
        <pc:inkChg chg="add mod">
          <ac:chgData name="Peter Bartholot" userId="b40eedc225134335" providerId="LiveId" clId="{070BB936-E59E-4D9C-B099-160B1BE6C3A8}" dt="2025-09-30T08:48:08.936" v="1590"/>
          <ac:inkMkLst>
            <pc:docMk/>
            <pc:sldMk cId="871970042" sldId="4031"/>
            <ac:inkMk id="21" creationId="{2BB240B9-4663-56BC-B3CD-6326696D4BDC}"/>
          </ac:inkMkLst>
        </pc:inkChg>
        <pc:inkChg chg="add mod">
          <ac:chgData name="Peter Bartholot" userId="b40eedc225134335" providerId="LiveId" clId="{070BB936-E59E-4D9C-B099-160B1BE6C3A8}" dt="2025-09-30T08:48:08.936" v="1590"/>
          <ac:inkMkLst>
            <pc:docMk/>
            <pc:sldMk cId="871970042" sldId="4031"/>
            <ac:inkMk id="22" creationId="{E12F7A5F-0071-D85A-4D8F-68EC466CD9DD}"/>
          </ac:inkMkLst>
        </pc:inkChg>
        <pc:inkChg chg="add mod">
          <ac:chgData name="Peter Bartholot" userId="b40eedc225134335" providerId="LiveId" clId="{070BB936-E59E-4D9C-B099-160B1BE6C3A8}" dt="2025-09-30T08:48:31.031" v="1605"/>
          <ac:inkMkLst>
            <pc:docMk/>
            <pc:sldMk cId="871970042" sldId="4031"/>
            <ac:inkMk id="25" creationId="{602728E5-37BD-0A8D-40BD-95B9765BD261}"/>
          </ac:inkMkLst>
        </pc:inkChg>
        <pc:inkChg chg="add mod">
          <ac:chgData name="Peter Bartholot" userId="b40eedc225134335" providerId="LiveId" clId="{070BB936-E59E-4D9C-B099-160B1BE6C3A8}" dt="2025-09-30T08:48:31.031" v="1605"/>
          <ac:inkMkLst>
            <pc:docMk/>
            <pc:sldMk cId="871970042" sldId="4031"/>
            <ac:inkMk id="26" creationId="{A016AAD4-1A78-F488-C23C-4213802241CD}"/>
          </ac:inkMkLst>
        </pc:inkChg>
        <pc:inkChg chg="add mod">
          <ac:chgData name="Peter Bartholot" userId="b40eedc225134335" providerId="LiveId" clId="{070BB936-E59E-4D9C-B099-160B1BE6C3A8}" dt="2025-09-30T08:48:31.031" v="1605"/>
          <ac:inkMkLst>
            <pc:docMk/>
            <pc:sldMk cId="871970042" sldId="4031"/>
            <ac:inkMk id="27" creationId="{2FCFE6B2-4AE4-9677-EC97-F0D8682FFD62}"/>
          </ac:inkMkLst>
        </pc:inkChg>
        <pc:inkChg chg="add mod">
          <ac:chgData name="Peter Bartholot" userId="b40eedc225134335" providerId="LiveId" clId="{070BB936-E59E-4D9C-B099-160B1BE6C3A8}" dt="2025-09-30T08:48:35.693" v="1610"/>
          <ac:inkMkLst>
            <pc:docMk/>
            <pc:sldMk cId="871970042" sldId="4031"/>
            <ac:inkMk id="29" creationId="{71BBA264-161B-6D56-A3A9-5AA27E230CB4}"/>
          </ac:inkMkLst>
        </pc:inkChg>
        <pc:inkChg chg="add mod">
          <ac:chgData name="Peter Bartholot" userId="b40eedc225134335" providerId="LiveId" clId="{070BB936-E59E-4D9C-B099-160B1BE6C3A8}" dt="2025-09-30T08:48:35.693" v="1610"/>
          <ac:inkMkLst>
            <pc:docMk/>
            <pc:sldMk cId="871970042" sldId="4031"/>
            <ac:inkMk id="30" creationId="{6DCE8767-3741-530F-EA7C-EA8E5CDD4938}"/>
          </ac:inkMkLst>
        </pc:inkChg>
        <pc:inkChg chg="add mod">
          <ac:chgData name="Peter Bartholot" userId="b40eedc225134335" providerId="LiveId" clId="{070BB936-E59E-4D9C-B099-160B1BE6C3A8}" dt="2025-09-30T08:48:35.693" v="1610"/>
          <ac:inkMkLst>
            <pc:docMk/>
            <pc:sldMk cId="871970042" sldId="4031"/>
            <ac:inkMk id="32" creationId="{03407192-ACA5-D1FD-C769-A1D738696311}"/>
          </ac:inkMkLst>
        </pc:inkChg>
        <pc:inkChg chg="add mod">
          <ac:chgData name="Peter Bartholot" userId="b40eedc225134335" providerId="LiveId" clId="{070BB936-E59E-4D9C-B099-160B1BE6C3A8}" dt="2025-09-30T08:50:04.902" v="1681"/>
          <ac:inkMkLst>
            <pc:docMk/>
            <pc:sldMk cId="871970042" sldId="4031"/>
            <ac:inkMk id="35" creationId="{A4943FA5-6908-3873-C636-420724124081}"/>
          </ac:inkMkLst>
        </pc:inkChg>
        <pc:inkChg chg="add mod">
          <ac:chgData name="Peter Bartholot" userId="b40eedc225134335" providerId="LiveId" clId="{070BB936-E59E-4D9C-B099-160B1BE6C3A8}" dt="2025-09-30T08:50:04.902" v="1681"/>
          <ac:inkMkLst>
            <pc:docMk/>
            <pc:sldMk cId="871970042" sldId="4031"/>
            <ac:inkMk id="36" creationId="{AED139B4-D688-675F-FEE7-07CB6152FF83}"/>
          </ac:inkMkLst>
        </pc:inkChg>
        <pc:inkChg chg="add mod">
          <ac:chgData name="Peter Bartholot" userId="b40eedc225134335" providerId="LiveId" clId="{070BB936-E59E-4D9C-B099-160B1BE6C3A8}" dt="2025-09-30T08:50:04.902" v="1681"/>
          <ac:inkMkLst>
            <pc:docMk/>
            <pc:sldMk cId="871970042" sldId="4031"/>
            <ac:inkMk id="37" creationId="{3613AFDA-9F17-E5B5-97E5-B00360577194}"/>
          </ac:inkMkLst>
        </pc:inkChg>
      </pc:sldChg>
      <pc:sldChg chg="addSp modSp add mod replId">
        <pc:chgData name="Peter Bartholot" userId="b40eedc225134335" providerId="LiveId" clId="{070BB936-E59E-4D9C-B099-160B1BE6C3A8}" dt="2025-09-30T09:00:22.593" v="2034" actId="20577"/>
        <pc:sldMkLst>
          <pc:docMk/>
          <pc:sldMk cId="1278778369" sldId="4032"/>
        </pc:sldMkLst>
        <pc:spChg chg="add mod">
          <ac:chgData name="Peter Bartholot" userId="b40eedc225134335" providerId="LiveId" clId="{070BB936-E59E-4D9C-B099-160B1BE6C3A8}" dt="2025-09-30T08:59:41.197" v="1998" actId="5793"/>
          <ac:spMkLst>
            <pc:docMk/>
            <pc:sldMk cId="1278778369" sldId="4032"/>
            <ac:spMk id="2" creationId="{D91DE332-7022-D879-3B73-C7422A90771F}"/>
          </ac:spMkLst>
        </pc:spChg>
        <pc:spChg chg="add mod">
          <ac:chgData name="Peter Bartholot" userId="b40eedc225134335" providerId="LiveId" clId="{070BB936-E59E-4D9C-B099-160B1BE6C3A8}" dt="2025-09-30T08:59:45.608" v="2006" actId="5793"/>
          <ac:spMkLst>
            <pc:docMk/>
            <pc:sldMk cId="1278778369" sldId="4032"/>
            <ac:spMk id="3" creationId="{BC390459-C0DF-52BD-49D0-120E61ABEA99}"/>
          </ac:spMkLst>
        </pc:spChg>
        <pc:spChg chg="add mod">
          <ac:chgData name="Peter Bartholot" userId="b40eedc225134335" providerId="LiveId" clId="{070BB936-E59E-4D9C-B099-160B1BE6C3A8}" dt="2025-09-30T08:59:37.205" v="1990" actId="20577"/>
          <ac:spMkLst>
            <pc:docMk/>
            <pc:sldMk cId="1278778369" sldId="4032"/>
            <ac:spMk id="8" creationId="{1A50366C-35E5-4208-9336-95BF320F16A7}"/>
          </ac:spMkLst>
        </pc:spChg>
        <pc:graphicFrameChg chg="add mod modGraphic">
          <ac:chgData name="Peter Bartholot" userId="b40eedc225134335" providerId="LiveId" clId="{070BB936-E59E-4D9C-B099-160B1BE6C3A8}" dt="2025-09-30T08:58:16.437" v="1948" actId="1076"/>
          <ac:graphicFrameMkLst>
            <pc:docMk/>
            <pc:sldMk cId="1278778369" sldId="4032"/>
            <ac:graphicFrameMk id="6" creationId="{02EB0A41-52D5-FFC1-07E2-E337E09D3C33}"/>
          </ac:graphicFrameMkLst>
        </pc:graphicFrameChg>
        <pc:graphicFrameChg chg="add mod modGraphic">
          <ac:chgData name="Peter Bartholot" userId="b40eedc225134335" providerId="LiveId" clId="{070BB936-E59E-4D9C-B099-160B1BE6C3A8}" dt="2025-09-30T09:00:22.593" v="2034" actId="20577"/>
          <ac:graphicFrameMkLst>
            <pc:docMk/>
            <pc:sldMk cId="1278778369" sldId="4032"/>
            <ac:graphicFrameMk id="7" creationId="{8B94B847-CE55-EC82-3C08-66F687F8318E}"/>
          </ac:graphicFrameMkLst>
        </pc:graphicFrameChg>
        <pc:cxnChg chg="add">
          <ac:chgData name="Peter Bartholot" userId="b40eedc225134335" providerId="LiveId" clId="{070BB936-E59E-4D9C-B099-160B1BE6C3A8}" dt="2025-09-30T08:56:26.288" v="1902" actId="11529"/>
          <ac:cxnSpMkLst>
            <pc:docMk/>
            <pc:sldMk cId="1278778369" sldId="4032"/>
            <ac:cxnSpMk id="5" creationId="{F8CAC63A-1F5C-6EDC-8CC6-E1AC833944F7}"/>
          </ac:cxnSpMkLst>
        </pc:cxnChg>
      </pc:sldChg>
      <pc:sldChg chg="addSp modSp add mod replId">
        <pc:chgData name="Peter Bartholot" userId="b40eedc225134335" providerId="LiveId" clId="{070BB936-E59E-4D9C-B099-160B1BE6C3A8}" dt="2025-09-30T09:56:38.579" v="2895" actId="9405"/>
        <pc:sldMkLst>
          <pc:docMk/>
          <pc:sldMk cId="70108573" sldId="4033"/>
        </pc:sldMkLst>
        <pc:spChg chg="add mod">
          <ac:chgData name="Peter Bartholot" userId="b40eedc225134335" providerId="LiveId" clId="{070BB936-E59E-4D9C-B099-160B1BE6C3A8}" dt="2025-09-30T09:12:46.424" v="2389" actId="14100"/>
          <ac:spMkLst>
            <pc:docMk/>
            <pc:sldMk cId="70108573" sldId="4033"/>
            <ac:spMk id="3" creationId="{231FBFF6-8D99-8BDE-92E7-CA2C16F7757B}"/>
          </ac:spMkLst>
        </pc:spChg>
        <pc:grpChg chg="mod">
          <ac:chgData name="Peter Bartholot" userId="b40eedc225134335" providerId="LiveId" clId="{070BB936-E59E-4D9C-B099-160B1BE6C3A8}" dt="2025-09-30T09:56:36.833" v="2894"/>
          <ac:grpSpMkLst>
            <pc:docMk/>
            <pc:sldMk cId="70108573" sldId="4033"/>
            <ac:grpSpMk id="13" creationId="{F838CDDE-0D49-BCC4-7387-4111F0F591FA}"/>
          </ac:grpSpMkLst>
        </pc:grpChg>
        <pc:graphicFrameChg chg="add mod modGraphic">
          <ac:chgData name="Peter Bartholot" userId="b40eedc225134335" providerId="LiveId" clId="{070BB936-E59E-4D9C-B099-160B1BE6C3A8}" dt="2025-09-30T09:12:57.191" v="2392" actId="14100"/>
          <ac:graphicFrameMkLst>
            <pc:docMk/>
            <pc:sldMk cId="70108573" sldId="4033"/>
            <ac:graphicFrameMk id="4" creationId="{BA48286B-B303-2B7C-AB77-638CDCD764EE}"/>
          </ac:graphicFrameMkLst>
        </pc:graphicFrameChg>
        <pc:picChg chg="add mod">
          <ac:chgData name="Peter Bartholot" userId="b40eedc225134335" providerId="LiveId" clId="{070BB936-E59E-4D9C-B099-160B1BE6C3A8}" dt="2025-09-30T09:36:52.475" v="2394" actId="1076"/>
          <ac:picMkLst>
            <pc:docMk/>
            <pc:sldMk cId="70108573" sldId="4033"/>
            <ac:picMk id="5" creationId="{A67F69D9-4107-CC9F-18FC-F4277C8680B9}"/>
          </ac:picMkLst>
        </pc:picChg>
        <pc:inkChg chg="add">
          <ac:chgData name="Peter Bartholot" userId="b40eedc225134335" providerId="LiveId" clId="{070BB936-E59E-4D9C-B099-160B1BE6C3A8}" dt="2025-09-30T09:37:00.687" v="2395" actId="9405"/>
          <ac:inkMkLst>
            <pc:docMk/>
            <pc:sldMk cId="70108573" sldId="4033"/>
            <ac:inkMk id="6" creationId="{0764BD4E-90FD-E718-575D-F277D425D3E0}"/>
          </ac:inkMkLst>
        </pc:inkChg>
        <pc:inkChg chg="add">
          <ac:chgData name="Peter Bartholot" userId="b40eedc225134335" providerId="LiveId" clId="{070BB936-E59E-4D9C-B099-160B1BE6C3A8}" dt="2025-09-30T09:37:01.823" v="2396" actId="9405"/>
          <ac:inkMkLst>
            <pc:docMk/>
            <pc:sldMk cId="70108573" sldId="4033"/>
            <ac:inkMk id="7" creationId="{C40FFE13-0356-4BF0-700C-CEF6E6B4BBE9}"/>
          </ac:inkMkLst>
        </pc:inkChg>
        <pc:inkChg chg="add">
          <ac:chgData name="Peter Bartholot" userId="b40eedc225134335" providerId="LiveId" clId="{070BB936-E59E-4D9C-B099-160B1BE6C3A8}" dt="2025-09-30T09:37:07.273" v="2397" actId="9405"/>
          <ac:inkMkLst>
            <pc:docMk/>
            <pc:sldMk cId="70108573" sldId="4033"/>
            <ac:inkMk id="8" creationId="{28AEE516-F744-3F03-699C-FB623D51CEDF}"/>
          </ac:inkMkLst>
        </pc:inkChg>
        <pc:inkChg chg="add">
          <ac:chgData name="Peter Bartholot" userId="b40eedc225134335" providerId="LiveId" clId="{070BB936-E59E-4D9C-B099-160B1BE6C3A8}" dt="2025-09-30T09:37:10.725" v="2398" actId="9405"/>
          <ac:inkMkLst>
            <pc:docMk/>
            <pc:sldMk cId="70108573" sldId="4033"/>
            <ac:inkMk id="9" creationId="{FD391DBD-BBF4-664E-F76D-32AC07825AAC}"/>
          </ac:inkMkLst>
        </pc:inkChg>
        <pc:inkChg chg="add">
          <ac:chgData name="Peter Bartholot" userId="b40eedc225134335" providerId="LiveId" clId="{070BB936-E59E-4D9C-B099-160B1BE6C3A8}" dt="2025-09-30T09:37:12.488" v="2399" actId="9405"/>
          <ac:inkMkLst>
            <pc:docMk/>
            <pc:sldMk cId="70108573" sldId="4033"/>
            <ac:inkMk id="10" creationId="{6E07AE9C-8F33-E818-96D7-53D8AB1D758E}"/>
          </ac:inkMkLst>
        </pc:inkChg>
        <pc:inkChg chg="add mod">
          <ac:chgData name="Peter Bartholot" userId="b40eedc225134335" providerId="LiveId" clId="{070BB936-E59E-4D9C-B099-160B1BE6C3A8}" dt="2025-09-30T09:56:36.833" v="2894"/>
          <ac:inkMkLst>
            <pc:docMk/>
            <pc:sldMk cId="70108573" sldId="4033"/>
            <ac:inkMk id="11" creationId="{86D5130C-CD67-04C0-374E-D3F98F510692}"/>
          </ac:inkMkLst>
        </pc:inkChg>
        <pc:inkChg chg="add mod">
          <ac:chgData name="Peter Bartholot" userId="b40eedc225134335" providerId="LiveId" clId="{070BB936-E59E-4D9C-B099-160B1BE6C3A8}" dt="2025-09-30T09:56:36.833" v="2894"/>
          <ac:inkMkLst>
            <pc:docMk/>
            <pc:sldMk cId="70108573" sldId="4033"/>
            <ac:inkMk id="12" creationId="{75482478-99C6-F3D6-B211-4577E9148B91}"/>
          </ac:inkMkLst>
        </pc:inkChg>
        <pc:inkChg chg="add">
          <ac:chgData name="Peter Bartholot" userId="b40eedc225134335" providerId="LiveId" clId="{070BB936-E59E-4D9C-B099-160B1BE6C3A8}" dt="2025-09-30T09:56:38.579" v="2895" actId="9405"/>
          <ac:inkMkLst>
            <pc:docMk/>
            <pc:sldMk cId="70108573" sldId="4033"/>
            <ac:inkMk id="14" creationId="{3543BABA-ADE7-15D4-6F0E-E418A8919BF1}"/>
          </ac:inkMkLst>
        </pc:inkChg>
      </pc:sldChg>
      <pc:sldChg chg="addSp modSp add mod replId">
        <pc:chgData name="Peter Bartholot" userId="b40eedc225134335" providerId="LiveId" clId="{070BB936-E59E-4D9C-B099-160B1BE6C3A8}" dt="2025-09-30T09:48:15.361" v="2774" actId="13926"/>
        <pc:sldMkLst>
          <pc:docMk/>
          <pc:sldMk cId="2710422363" sldId="4034"/>
        </pc:sldMkLst>
        <pc:spChg chg="add mod">
          <ac:chgData name="Peter Bartholot" userId="b40eedc225134335" providerId="LiveId" clId="{070BB936-E59E-4D9C-B099-160B1BE6C3A8}" dt="2025-09-30T09:48:15.361" v="2774" actId="13926"/>
          <ac:spMkLst>
            <pc:docMk/>
            <pc:sldMk cId="2710422363" sldId="4034"/>
            <ac:spMk id="2" creationId="{7590C8E5-6920-5143-91D9-D002A8824269}"/>
          </ac:spMkLst>
        </pc:spChg>
      </pc:sldChg>
      <pc:sldChg chg="addSp modSp add mod replId">
        <pc:chgData name="Peter Bartholot" userId="b40eedc225134335" providerId="LiveId" clId="{070BB936-E59E-4D9C-B099-160B1BE6C3A8}" dt="2025-09-30T09:59:12.159" v="3052" actId="20577"/>
        <pc:sldMkLst>
          <pc:docMk/>
          <pc:sldMk cId="459892466" sldId="4035"/>
        </pc:sldMkLst>
        <pc:spChg chg="add mod">
          <ac:chgData name="Peter Bartholot" userId="b40eedc225134335" providerId="LiveId" clId="{070BB936-E59E-4D9C-B099-160B1BE6C3A8}" dt="2025-09-30T09:50:57.416" v="2778" actId="14100"/>
          <ac:spMkLst>
            <pc:docMk/>
            <pc:sldMk cId="459892466" sldId="4035"/>
            <ac:spMk id="3" creationId="{D957B0C3-BF71-D8D7-75DB-EB128006F61F}"/>
          </ac:spMkLst>
        </pc:spChg>
        <pc:spChg chg="add mod">
          <ac:chgData name="Peter Bartholot" userId="b40eedc225134335" providerId="LiveId" clId="{070BB936-E59E-4D9C-B099-160B1BE6C3A8}" dt="2025-09-30T09:53:25.559" v="2887" actId="20577"/>
          <ac:spMkLst>
            <pc:docMk/>
            <pc:sldMk cId="459892466" sldId="4035"/>
            <ac:spMk id="4" creationId="{EE368A0D-87E5-80DD-44E2-8EC6C1EA7251}"/>
          </ac:spMkLst>
        </pc:spChg>
        <pc:spChg chg="add mod">
          <ac:chgData name="Peter Bartholot" userId="b40eedc225134335" providerId="LiveId" clId="{070BB936-E59E-4D9C-B099-160B1BE6C3A8}" dt="2025-09-30T09:55:18.838" v="2891" actId="14100"/>
          <ac:spMkLst>
            <pc:docMk/>
            <pc:sldMk cId="459892466" sldId="4035"/>
            <ac:spMk id="7" creationId="{6AE3EF1E-DDA7-9A24-8713-C9240B1A85B3}"/>
          </ac:spMkLst>
        </pc:spChg>
        <pc:spChg chg="add mod">
          <ac:chgData name="Peter Bartholot" userId="b40eedc225134335" providerId="LiveId" clId="{070BB936-E59E-4D9C-B099-160B1BE6C3A8}" dt="2025-09-30T09:59:12.159" v="3052" actId="20577"/>
          <ac:spMkLst>
            <pc:docMk/>
            <pc:sldMk cId="459892466" sldId="4035"/>
            <ac:spMk id="8" creationId="{8AAAA207-99A2-D219-91EB-2EE2C52D6B64}"/>
          </ac:spMkLst>
        </pc:spChg>
        <pc:inkChg chg="add">
          <ac:chgData name="Peter Bartholot" userId="b40eedc225134335" providerId="LiveId" clId="{070BB936-E59E-4D9C-B099-160B1BE6C3A8}" dt="2025-09-30T09:54:19.613" v="2888" actId="9405"/>
          <ac:inkMkLst>
            <pc:docMk/>
            <pc:sldMk cId="459892466" sldId="4035"/>
            <ac:inkMk id="5" creationId="{AFDDA1E3-A03E-2B19-7AE2-CD57E10E85DA}"/>
          </ac:inkMkLst>
        </pc:inkChg>
      </pc:sldChg>
      <pc:sldChg chg="addSp delSp modSp add mod">
        <pc:chgData name="Peter Bartholot" userId="b40eedc225134335" providerId="LiveId" clId="{070BB936-E59E-4D9C-B099-160B1BE6C3A8}" dt="2025-09-30T10:14:52.799" v="3321" actId="20577"/>
        <pc:sldMkLst>
          <pc:docMk/>
          <pc:sldMk cId="1889796797" sldId="4036"/>
        </pc:sldMkLst>
        <pc:spChg chg="add mod">
          <ac:chgData name="Peter Bartholot" userId="b40eedc225134335" providerId="LiveId" clId="{070BB936-E59E-4D9C-B099-160B1BE6C3A8}" dt="2025-09-30T10:07:13.828" v="3058" actId="15"/>
          <ac:spMkLst>
            <pc:docMk/>
            <pc:sldMk cId="1889796797" sldId="4036"/>
            <ac:spMk id="3" creationId="{7D925F0B-D2BB-14BF-E37E-41094E38A45B}"/>
          </ac:spMkLst>
        </pc:spChg>
        <pc:spChg chg="add del mod">
          <ac:chgData name="Peter Bartholot" userId="b40eedc225134335" providerId="LiveId" clId="{070BB936-E59E-4D9C-B099-160B1BE6C3A8}" dt="2025-09-30T10:07:23.459" v="3061"/>
          <ac:spMkLst>
            <pc:docMk/>
            <pc:sldMk cId="1889796797" sldId="4036"/>
            <ac:spMk id="4" creationId="{B74A3C0F-0D68-1D2A-D8DA-D4C9DABC00BB}"/>
          </ac:spMkLst>
        </pc:spChg>
        <pc:spChg chg="add mod">
          <ac:chgData name="Peter Bartholot" userId="b40eedc225134335" providerId="LiveId" clId="{070BB936-E59E-4D9C-B099-160B1BE6C3A8}" dt="2025-09-30T10:09:40.789" v="3208" actId="20577"/>
          <ac:spMkLst>
            <pc:docMk/>
            <pc:sldMk cId="1889796797" sldId="4036"/>
            <ac:spMk id="5" creationId="{03AFBEF9-EF8B-1DEF-8D24-A59CC44CA7D0}"/>
          </ac:spMkLst>
        </pc:spChg>
        <pc:spChg chg="add mod">
          <ac:chgData name="Peter Bartholot" userId="b40eedc225134335" providerId="LiveId" clId="{070BB936-E59E-4D9C-B099-160B1BE6C3A8}" dt="2025-09-30T10:14:52.799" v="3321" actId="20577"/>
          <ac:spMkLst>
            <pc:docMk/>
            <pc:sldMk cId="1889796797" sldId="4036"/>
            <ac:spMk id="7" creationId="{29FD0AF8-A318-F6B0-AE0E-C8A05C7E6116}"/>
          </ac:spMkLst>
        </pc:spChg>
      </pc:sldChg>
      <pc:sldChg chg="addSp delSp modSp add mod replId">
        <pc:chgData name="Peter Bartholot" userId="b40eedc225134335" providerId="LiveId" clId="{070BB936-E59E-4D9C-B099-160B1BE6C3A8}" dt="2025-09-30T10:18:56.443" v="3430" actId="21"/>
        <pc:sldMkLst>
          <pc:docMk/>
          <pc:sldMk cId="595214896" sldId="4037"/>
        </pc:sldMkLst>
        <pc:spChg chg="add mod">
          <ac:chgData name="Peter Bartholot" userId="b40eedc225134335" providerId="LiveId" clId="{070BB936-E59E-4D9C-B099-160B1BE6C3A8}" dt="2025-09-30T10:16:23.168" v="3396" actId="20577"/>
          <ac:spMkLst>
            <pc:docMk/>
            <pc:sldMk cId="595214896" sldId="4037"/>
            <ac:spMk id="2" creationId="{A7C2F028-98BC-B29D-1E47-2ED2AE720610}"/>
          </ac:spMkLst>
        </pc:spChg>
        <pc:spChg chg="add mod">
          <ac:chgData name="Peter Bartholot" userId="b40eedc225134335" providerId="LiveId" clId="{070BB936-E59E-4D9C-B099-160B1BE6C3A8}" dt="2025-09-30T10:17:20.224" v="3417" actId="20577"/>
          <ac:spMkLst>
            <pc:docMk/>
            <pc:sldMk cId="595214896" sldId="4037"/>
            <ac:spMk id="3" creationId="{80CBAB08-DAED-3DA2-19E5-7EF28627DFC4}"/>
          </ac:spMkLst>
        </pc:spChg>
        <pc:spChg chg="add del mod">
          <ac:chgData name="Peter Bartholot" userId="b40eedc225134335" providerId="LiveId" clId="{070BB936-E59E-4D9C-B099-160B1BE6C3A8}" dt="2025-09-30T10:18:56.443" v="3430" actId="21"/>
          <ac:spMkLst>
            <pc:docMk/>
            <pc:sldMk cId="595214896" sldId="4037"/>
            <ac:spMk id="4" creationId="{B896F706-0340-0785-540D-A21F93BB0149}"/>
          </ac:spMkLst>
        </pc:spChg>
      </pc:sldChg>
      <pc:sldChg chg="addSp modSp add mod replId">
        <pc:chgData name="Peter Bartholot" userId="b40eedc225134335" providerId="LiveId" clId="{070BB936-E59E-4D9C-B099-160B1BE6C3A8}" dt="2025-09-30T10:24:17.921" v="3701" actId="20577"/>
        <pc:sldMkLst>
          <pc:docMk/>
          <pc:sldMk cId="3890124171" sldId="4038"/>
        </pc:sldMkLst>
        <pc:spChg chg="add mod">
          <ac:chgData name="Peter Bartholot" userId="b40eedc225134335" providerId="LiveId" clId="{070BB936-E59E-4D9C-B099-160B1BE6C3A8}" dt="2025-09-30T10:22:02.989" v="3639" actId="5793"/>
          <ac:spMkLst>
            <pc:docMk/>
            <pc:sldMk cId="3890124171" sldId="4038"/>
            <ac:spMk id="2" creationId="{0B730574-2EA0-F032-FC09-BE1D0C56C8A1}"/>
          </ac:spMkLst>
        </pc:spChg>
        <pc:spChg chg="add mod">
          <ac:chgData name="Peter Bartholot" userId="b40eedc225134335" providerId="LiveId" clId="{070BB936-E59E-4D9C-B099-160B1BE6C3A8}" dt="2025-09-30T10:20:37.456" v="3536" actId="20577"/>
          <ac:spMkLst>
            <pc:docMk/>
            <pc:sldMk cId="3890124171" sldId="4038"/>
            <ac:spMk id="4" creationId="{B896F706-0340-0785-540D-A21F93BB0149}"/>
          </ac:spMkLst>
        </pc:spChg>
        <pc:spChg chg="add mod">
          <ac:chgData name="Peter Bartholot" userId="b40eedc225134335" providerId="LiveId" clId="{070BB936-E59E-4D9C-B099-160B1BE6C3A8}" dt="2025-09-30T10:22:52.418" v="3641" actId="1076"/>
          <ac:spMkLst>
            <pc:docMk/>
            <pc:sldMk cId="3890124171" sldId="4038"/>
            <ac:spMk id="5" creationId="{6B423989-A46D-6D79-2C17-A88DD5E524AE}"/>
          </ac:spMkLst>
        </pc:spChg>
        <pc:spChg chg="add mod">
          <ac:chgData name="Peter Bartholot" userId="b40eedc225134335" providerId="LiveId" clId="{070BB936-E59E-4D9C-B099-160B1BE6C3A8}" dt="2025-09-30T10:23:37.397" v="3643" actId="1076"/>
          <ac:spMkLst>
            <pc:docMk/>
            <pc:sldMk cId="3890124171" sldId="4038"/>
            <ac:spMk id="7" creationId="{F6EF2141-7367-C508-13C3-4D29EB7B2A87}"/>
          </ac:spMkLst>
        </pc:spChg>
        <pc:spChg chg="add mod">
          <ac:chgData name="Peter Bartholot" userId="b40eedc225134335" providerId="LiveId" clId="{070BB936-E59E-4D9C-B099-160B1BE6C3A8}" dt="2025-09-30T10:24:17.921" v="3701" actId="20577"/>
          <ac:spMkLst>
            <pc:docMk/>
            <pc:sldMk cId="3890124171" sldId="4038"/>
            <ac:spMk id="8" creationId="{9DF589FD-E51F-B176-1624-260D90D7DD56}"/>
          </ac:spMkLst>
        </pc:spChg>
      </pc:sldChg>
      <pc:sldChg chg="addSp modSp add mod replId">
        <pc:chgData name="Peter Bartholot" userId="b40eedc225134335" providerId="LiveId" clId="{070BB936-E59E-4D9C-B099-160B1BE6C3A8}" dt="2025-09-30T10:28:48.544" v="3704" actId="14100"/>
        <pc:sldMkLst>
          <pc:docMk/>
          <pc:sldMk cId="1453801049" sldId="4039"/>
        </pc:sldMkLst>
        <pc:picChg chg="add mod">
          <ac:chgData name="Peter Bartholot" userId="b40eedc225134335" providerId="LiveId" clId="{070BB936-E59E-4D9C-B099-160B1BE6C3A8}" dt="2025-09-30T10:28:48.544" v="3704" actId="14100"/>
          <ac:picMkLst>
            <pc:docMk/>
            <pc:sldMk cId="1453801049" sldId="4039"/>
            <ac:picMk id="3" creationId="{02C4ACAF-5692-E955-0848-722ECF9B98E6}"/>
          </ac:picMkLst>
        </pc:picChg>
      </pc:sldChg>
      <pc:sldChg chg="addSp add mod replId">
        <pc:chgData name="Peter Bartholot" userId="b40eedc225134335" providerId="LiveId" clId="{070BB936-E59E-4D9C-B099-160B1BE6C3A8}" dt="2025-09-30T10:30:58.171" v="3705" actId="22"/>
        <pc:sldMkLst>
          <pc:docMk/>
          <pc:sldMk cId="4152670470" sldId="4040"/>
        </pc:sldMkLst>
        <pc:picChg chg="add">
          <ac:chgData name="Peter Bartholot" userId="b40eedc225134335" providerId="LiveId" clId="{070BB936-E59E-4D9C-B099-160B1BE6C3A8}" dt="2025-09-30T10:30:58.171" v="3705" actId="22"/>
          <ac:picMkLst>
            <pc:docMk/>
            <pc:sldMk cId="4152670470" sldId="4040"/>
            <ac:picMk id="3" creationId="{24BD9FBF-F24D-031C-5281-84100936CDA9}"/>
          </ac:picMkLst>
        </pc:picChg>
      </pc:sldChg>
      <pc:sldChg chg="addSp modSp add mod replId">
        <pc:chgData name="Peter Bartholot" userId="b40eedc225134335" providerId="LiveId" clId="{070BB936-E59E-4D9C-B099-160B1BE6C3A8}" dt="2025-09-30T10:31:17.786" v="3708" actId="14100"/>
        <pc:sldMkLst>
          <pc:docMk/>
          <pc:sldMk cId="3137045564" sldId="4041"/>
        </pc:sldMkLst>
        <pc:picChg chg="add mod">
          <ac:chgData name="Peter Bartholot" userId="b40eedc225134335" providerId="LiveId" clId="{070BB936-E59E-4D9C-B099-160B1BE6C3A8}" dt="2025-09-30T10:31:17.786" v="3708" actId="14100"/>
          <ac:picMkLst>
            <pc:docMk/>
            <pc:sldMk cId="3137045564" sldId="4041"/>
            <ac:picMk id="3" creationId="{04508E69-3573-3C85-A247-B89ACCECC465}"/>
          </ac:picMkLst>
        </pc:picChg>
      </pc:sldChg>
      <pc:sldChg chg="addSp modSp add mod">
        <pc:chgData name="Peter Bartholot" userId="b40eedc225134335" providerId="LiveId" clId="{070BB936-E59E-4D9C-B099-160B1BE6C3A8}" dt="2025-09-30T10:36:24.194" v="3711" actId="14100"/>
        <pc:sldMkLst>
          <pc:docMk/>
          <pc:sldMk cId="2768898410" sldId="4042"/>
        </pc:sldMkLst>
        <pc:picChg chg="add mod">
          <ac:chgData name="Peter Bartholot" userId="b40eedc225134335" providerId="LiveId" clId="{070BB936-E59E-4D9C-B099-160B1BE6C3A8}" dt="2025-09-30T10:36:24.194" v="3711" actId="14100"/>
          <ac:picMkLst>
            <pc:docMk/>
            <pc:sldMk cId="2768898410" sldId="4042"/>
            <ac:picMk id="3" creationId="{6E68749F-1FAF-E488-C853-BC9DD482C360}"/>
          </ac:picMkLst>
        </pc:picChg>
      </pc:sldChg>
      <pc:sldChg chg="addSp modSp add mod replId">
        <pc:chgData name="Peter Bartholot" userId="b40eedc225134335" providerId="LiveId" clId="{070BB936-E59E-4D9C-B099-160B1BE6C3A8}" dt="2025-09-30T10:37:22.241" v="3714" actId="14100"/>
        <pc:sldMkLst>
          <pc:docMk/>
          <pc:sldMk cId="3356379979" sldId="4043"/>
        </pc:sldMkLst>
        <pc:picChg chg="add mod">
          <ac:chgData name="Peter Bartholot" userId="b40eedc225134335" providerId="LiveId" clId="{070BB936-E59E-4D9C-B099-160B1BE6C3A8}" dt="2025-09-30T10:37:22.241" v="3714" actId="14100"/>
          <ac:picMkLst>
            <pc:docMk/>
            <pc:sldMk cId="3356379979" sldId="4043"/>
            <ac:picMk id="3" creationId="{EFB3CAF9-E931-C397-4479-2825ACF3BB97}"/>
          </ac:picMkLst>
        </pc:picChg>
      </pc:sldChg>
      <pc:sldChg chg="addSp modSp add mod replId">
        <pc:chgData name="Peter Bartholot" userId="b40eedc225134335" providerId="LiveId" clId="{070BB936-E59E-4D9C-B099-160B1BE6C3A8}" dt="2025-09-30T10:37:36.200" v="3717" actId="14100"/>
        <pc:sldMkLst>
          <pc:docMk/>
          <pc:sldMk cId="2331981317" sldId="4044"/>
        </pc:sldMkLst>
        <pc:picChg chg="add mod">
          <ac:chgData name="Peter Bartholot" userId="b40eedc225134335" providerId="LiveId" clId="{070BB936-E59E-4D9C-B099-160B1BE6C3A8}" dt="2025-09-30T10:37:36.200" v="3717" actId="14100"/>
          <ac:picMkLst>
            <pc:docMk/>
            <pc:sldMk cId="2331981317" sldId="4044"/>
            <ac:picMk id="3" creationId="{CBFECB33-6B61-51F8-2795-1088D68849A1}"/>
          </ac:picMkLst>
        </pc:picChg>
      </pc:sldChg>
      <pc:sldChg chg="addSp modSp add mod replId">
        <pc:chgData name="Peter Bartholot" userId="b40eedc225134335" providerId="LiveId" clId="{070BB936-E59E-4D9C-B099-160B1BE6C3A8}" dt="2025-09-30T10:37:51.223" v="3720" actId="14100"/>
        <pc:sldMkLst>
          <pc:docMk/>
          <pc:sldMk cId="1533210545" sldId="4045"/>
        </pc:sldMkLst>
        <pc:picChg chg="add mod">
          <ac:chgData name="Peter Bartholot" userId="b40eedc225134335" providerId="LiveId" clId="{070BB936-E59E-4D9C-B099-160B1BE6C3A8}" dt="2025-09-30T10:37:51.223" v="3720" actId="14100"/>
          <ac:picMkLst>
            <pc:docMk/>
            <pc:sldMk cId="1533210545" sldId="4045"/>
            <ac:picMk id="3" creationId="{28B09899-1262-69D3-B113-F516BC554B36}"/>
          </ac:picMkLst>
        </pc:picChg>
      </pc:sldChg>
      <pc:sldChg chg="addSp modSp add mod replId">
        <pc:chgData name="Peter Bartholot" userId="b40eedc225134335" providerId="LiveId" clId="{070BB936-E59E-4D9C-B099-160B1BE6C3A8}" dt="2025-09-30T10:42:17.406" v="3802" actId="1076"/>
        <pc:sldMkLst>
          <pc:docMk/>
          <pc:sldMk cId="2112088688" sldId="4046"/>
        </pc:sldMkLst>
        <pc:spChg chg="add mod">
          <ac:chgData name="Peter Bartholot" userId="b40eedc225134335" providerId="LiveId" clId="{070BB936-E59E-4D9C-B099-160B1BE6C3A8}" dt="2025-09-30T10:42:17.406" v="3802" actId="1076"/>
          <ac:spMkLst>
            <pc:docMk/>
            <pc:sldMk cId="2112088688" sldId="4046"/>
            <ac:spMk id="2" creationId="{6051E16D-537C-29E3-4EE4-412826A2328E}"/>
          </ac:spMkLst>
        </pc:spChg>
      </pc:sldChg>
      <pc:sldChg chg="add del replId">
        <pc:chgData name="Peter Bartholot" userId="b40eedc225134335" providerId="LiveId" clId="{070BB936-E59E-4D9C-B099-160B1BE6C3A8}" dt="2025-09-30T10:41:37.064" v="3724" actId="47"/>
        <pc:sldMkLst>
          <pc:docMk/>
          <pc:sldMk cId="2813032926" sldId="4047"/>
        </pc:sldMkLst>
      </pc:sldChg>
      <pc:sldChg chg="addSp modSp add mod">
        <pc:chgData name="Peter Bartholot" userId="b40eedc225134335" providerId="LiveId" clId="{070BB936-E59E-4D9C-B099-160B1BE6C3A8}" dt="2025-09-30T07:09:45.548" v="115" actId="1076"/>
        <pc:sldMkLst>
          <pc:docMk/>
          <pc:sldMk cId="1258443875" sldId="4048"/>
        </pc:sldMkLst>
        <pc:spChg chg="add mod">
          <ac:chgData name="Peter Bartholot" userId="b40eedc225134335" providerId="LiveId" clId="{070BB936-E59E-4D9C-B099-160B1BE6C3A8}" dt="2025-09-30T07:09:45.548" v="115" actId="1076"/>
          <ac:spMkLst>
            <pc:docMk/>
            <pc:sldMk cId="1258443875" sldId="4048"/>
            <ac:spMk id="3" creationId="{053645F4-D1F3-8583-C847-002AE575C17D}"/>
          </ac:spMkLst>
        </pc:spChg>
        <pc:inkChg chg="add">
          <ac:chgData name="Peter Bartholot" userId="b40eedc225134335" providerId="LiveId" clId="{070BB936-E59E-4D9C-B099-160B1BE6C3A8}" dt="2025-09-30T07:09:07.700" v="79" actId="9405"/>
          <ac:inkMkLst>
            <pc:docMk/>
            <pc:sldMk cId="1258443875" sldId="4048"/>
            <ac:inkMk id="2" creationId="{456181E1-289E-402C-A723-9ACF03321E0C}"/>
          </ac:inkMkLst>
        </pc:inkChg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3117241498" sldId="4390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3876051048" sldId="4391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347162472" sldId="4437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286717827" sldId="4438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4280544495" sldId="4439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1830701854" sldId="4440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1042980847" sldId="4441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348865584" sldId="4442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4017200250" sldId="4443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2218037093" sldId="4444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1735322555" sldId="4445"/>
        </pc:sldMkLst>
      </pc:sldChg>
      <pc:sldChg chg="del">
        <pc:chgData name="Peter Bartholot" userId="b40eedc225134335" providerId="LiveId" clId="{070BB936-E59E-4D9C-B099-160B1BE6C3A8}" dt="2025-09-30T05:50:25.899" v="4" actId="47"/>
        <pc:sldMkLst>
          <pc:docMk/>
          <pc:sldMk cId="4194833447" sldId="4446"/>
        </pc:sldMkLst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2560" units="cm"/>
          <inkml:channel name="Y" type="integer" max="1024" units="cm"/>
          <inkml:channel name="T" type="integer" max="2.14748E9" units="dev"/>
        </inkml:traceFormat>
        <inkml:channelProperties>
          <inkml:channelProperty channel="X" name="resolution" value="56.63717" units="1/cm"/>
          <inkml:channelProperty channel="Y" name="resolution" value="28.36565" units="1/cm"/>
          <inkml:channelProperty channel="T" name="resolution" value="1" units="1/dev"/>
        </inkml:channelProperties>
      </inkml:inkSource>
      <inkml:timestamp xml:id="ts0" timeString="2018-07-18T06:11:18.671"/>
    </inkml:context>
    <inkml:brush xml:id="br0">
      <inkml:brushProperty name="width" value="0.04667" units="cm"/>
      <inkml:brushProperty name="height" value="0.04667" units="cm"/>
      <inkml:brushProperty name="fitToCurve" value="1"/>
    </inkml:brush>
  </inkml:definitions>
  <inkml:trace contextRef="#ctx0" brushRef="#br0">0 0 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7:02:13.60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35 2 24575,'-90'-1'0,"-98"3"0,185-1 0,1-1 0,-1 1 0,0 0 0,0 0 0,1 0 0,-1 0 0,1 0 0,-1 0 0,1 1 0,-1 0 0,1-1 0,0 1 0,0 0 0,0 0 0,0 0 0,0 0 0,0 0 0,0 1 0,1-1 0,-1 0 0,1 1 0,0 0 0,0-1 0,0 1 0,0 0 0,0-1 0,0 1 0,1 0 0,-1 0 0,1-1 0,0 1 0,0 0 0,0 5 0,0-5 0,0 0 0,0 1 0,1-1 0,-1 1 0,1-1 0,0 0 0,0 0 0,0 1 0,0-1 0,0 0 0,1 0 0,-1 0 0,1 0 0,0 0 0,0-1 0,0 1 0,0 0 0,0-1 0,1 0 0,-1 1 0,1-1 0,-1 0 0,1 0 0,0 0 0,0-1 0,0 1 0,0-1 0,5 2 0,-1-2 8,0 0 0,0 0 0,0 0 0,0-1 0,0-1 0,0 1 0,0-1 0,0 0 0,0 0 0,-1-1 0,1 0 0,0 0 0,-1-1 0,7-3 0,4-4-379,0-1-1,-1 0 1,24-23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30T07:13:43.698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3673'0,"-3654"1,-1 1,35 8,-33-5,0-2,26 2,652-3,-340-4,699 2,-1038 1,0 1,33 7,33 4,564-11,-316-4,-314 0,0 1,33-9,33-3,647 11,-357 5,78-3,-435 1,0 1,0 1,0 1,-1 1,24 8,31 8,5-4,92 22,-40 5,-2-16,-100-24,0 1,0 2,0 1,-1 1,32 15,-44-17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6:58:53.83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01 1 24575,'-18'-1'0,"-1"1"0,1 1 0,0 0 0,-1 2 0,1 0 0,0 1 0,1 0 0,-32 14 0,27-9 7,-1-1-1,0-1 1,-1-1 0,0-1-1,1-1 1,-26 1 0,-148-4-258,97-3-910,78 2-5665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6:59:00.05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24575,'0'5'0,"0"5"0,0 5 0,0 5 0,0 3 0,0 1 0,0 2 0,0 1 0,0-1 0,0 0 0,0 0 0,0-1 0,0 0 0,0 1 0,0-1 0,0-4-8191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6:59:02.07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7 0 24575,'1'7'0,"0"0"0,1 0 0,0 0 0,0 0 0,0 0 0,1 0 0,0-1 0,0 1 0,1-1 0,7 11 0,50 56 0,-21-34 0,-29-30 0,-1 0 0,0 1 0,-1 0 0,0 0 0,0 1 0,-1 0 0,-1 1 0,8 15 0,-12-21 0,-1 0 0,0 0 0,0 0 0,0 0 0,-1 1 0,0-1 0,0 7 0,-1-11 0,0 0 0,0 0 0,-1-1 0,1 1 0,-1 0 0,0-1 0,1 1 0,-1-1 0,0 1 0,0 0 0,0-1 0,0 0 0,0 1 0,0-1 0,0 0 0,0 1 0,-1-1 0,1 0 0,0 0 0,-1 0 0,1 0 0,-1 0 0,0 0 0,1-1 0,-1 1 0,1 0 0,-1-1 0,0 1 0,0-1 0,-2 1 0,-10 0 13,1 1 1,0-2-1,-1 1 0,1-2 0,-1 0 1,1-1-1,0 0 0,-19-6 0,-55-5-1497,66 12-5342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30T06:59:58.470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32,'54'-19,"-22"15,0 1,37 2,-41 1,1 0,-1-2,39-8,-42 5,0 2,0 1,25 1,-22 0,0 0,33-6,15-4,2 4,-1 4,82 6,-22-1,1624-2,-1743 1,1 1,34 8,-33-5,0-1,25 1,570-4,-299-3,-290 0,0 0,0-2,45-14,-45 11,-1 1,1 1,49-3,-51 8,0-1,0-1,41-9,-23 4,2 2,-1 2,0 2,51 4,7 0,1006-3,-1087 1,1 2,39 9,-11-2,52 13,-71-15,0-2,0 0,55 2,2909-9,-2976 0,1-1,34-8,-33 5,0 2,25-2,654 3,-341 4,-236-4,133 5,-128 22,-93-21,0 1,35 11,-40-9,0 0,1-2,45 2,151-9,-204 2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30T07:01:26.893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32,'19'0,"16"1,-1-2,1-1,55-11,-47 6,0 2,0 2,1 1,50 6,7-1,1206-3,-1286 1,0 2,0 0,0 2,-1 0,0 1,30 14,12 3,-36-18,0 0,1-2,-1 0,0-2,1-1,29-4,22 1,223 3,-279 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30T07:01:29.102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01,'5'0,"-1"-2,1 1,-1 0,1-1,-1 0,1 0,-1 0,0-1,6-3,23-12,-7 12,1 1,-1 2,1 0,0 2,0 1,30 4,22-1,-29-4,0-3,56-10,-60 6,0-1,-1 2,63 0,1302 8,-1385 0,-1 2,1 1,0 2,-1 0,30 12,-29-10,-1 0,2-1,-1-2,48 5,205-11,-257 1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7:02:11.26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24575,'17'1'0,"1"1"0,-1 0 0,-1 1 0,1 1 0,0 1 0,-1 1 0,0 0 0,0 1 0,18 10 0,-24-12 0,26 11 0,-26-13 0,0 1 0,-1 1 0,1-1 0,-1 2 0,0-1 0,14 13 0,14 13 0,-31-27 0,0 0 0,0 1 0,0-1 0,-1 1 0,1 0 0,-1 1 0,-1-1 0,1 1 0,-1 0 0,0 0 0,0 0 0,-1 1 0,0-1 0,0 1 0,0 0 0,-1 0 0,0 0 0,0 0 0,0 10 0,3 12 0,1-1 0,2 0 0,0 0 0,2 0 0,15 29 0,-20-45 0,-2-7 0,0 0 0,-1 0 0,2-1 0,-1 1 0,0-1 0,1 1 0,0-1 0,0 0 0,0 0 0,1-1 0,-1 0 0,1 1 0,0-1 0,7 3 0,8 3 0,1-1 0,32 7 0,-38-11 0,0 0 0,0 1 0,0 0 0,-1 1 0,18 11 0,-9-4 0,0-2 0,1 0 0,0-2 0,1 0 0,0-2 0,0-1 0,0-1 0,1-1 0,25 1 0,-34-5 0,-39-4 0,-5-2 0,-5-1 0,0 2 0,0 0 0,0 3 0,-1 0 0,1 2 0,-45 6 0,72-6 0,0 1 0,0 0 0,0 0 0,0 0 0,0 0 0,0 1 0,1 0 0,-1 0 0,0 0 0,1 1 0,0 0 0,-1 0 0,1 0 0,0 0 0,1 0 0,-1 1 0,1-1 0,-1 1 0,1 0 0,0 0 0,0 1 0,1-1 0,-1 0 0,-2 9 0,-1 4 0,1 1 0,1 1 0,1-1 0,0 1 0,1 22 0,0-24 0,2-8 0,-2 0 0,1 0 0,-1 1 0,-1-2 0,1 1 0,-1 0 0,-1 0 0,0-1 0,0 0 0,-1 0 0,0 0 0,0 0 0,-1-1 0,0 0 0,0 0 0,0 0 0,-1-1 0,0 0 0,-1 0 0,1-1 0,-1 0 0,-13 7 0,-17 19 99,34-26-282,0-1 0,0 0 0,-1 0 0,1-1 0,-1 1 0,1-1 0,-11 5 0,-1-2-6643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7:02:13.60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35 2 24575,'-90'-1'0,"-98"3"0,185-1 0,1-1 0,-1 1 0,0 0 0,0 0 0,1 0 0,-1 0 0,1 0 0,-1 0 0,1 1 0,-1 0 0,1-1 0,0 1 0,0 0 0,0 0 0,0 0 0,0 0 0,0 0 0,0 1 0,1-1 0,-1 0 0,1 1 0,0 0 0,0-1 0,0 1 0,0 0 0,0-1 0,0 1 0,1 0 0,-1 0 0,1-1 0,0 1 0,0 0 0,0 5 0,0-5 0,0 0 0,0 1 0,1-1 0,-1 1 0,1-1 0,0 0 0,0 0 0,0 1 0,0-1 0,0 0 0,1 0 0,-1 0 0,1 0 0,0 0 0,0-1 0,0 1 0,0 0 0,0-1 0,1 0 0,-1 1 0,1-1 0,-1 0 0,1 0 0,0 0 0,0-1 0,0 1 0,0-1 0,5 2 0,-1-2 8,0 0 0,0 0 0,0 0 0,0-1 0,0-1 0,0 1 0,0-1 0,0 0 0,0 0 0,-1-1 0,1 0 0,0 0 0,-1-1 0,7-3 0,4-4-379,0-1-1,-1 0 1,24-23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7:27:32.99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0 24575,'0'555'0,"1"-539"0,0 0 0,1 0 0,6 17 0,4 37 0,-9-43 0,1-1 0,15 49 0,-13-53 0,0 1 0,-1 1 0,-1-1 0,1 32 0,-3-21 0,2-1 0,1 0 0,12 44 0,5 24 0,-19-85 0,1 0 0,13 31 0,-12-34 0,0 0 0,-1 0 0,0 0 0,-1 0 0,2 19 0,-3 4-195,-1-1 0,-2 1 0,-2 0 0,-1 0 0,-2-1 0,-20 68 0,20-87-6631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7:09:07.70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9 24575,'53'-19'0,"-6"13"0,1 3 0,89 4 0,-43 2 0,-73-2 0,1 1 0,37 10 0,-11-3 0,2 2 0,26 3 0,16-1 0,-66-8 0,0-1 0,31 1 0,-32-4 0,49 10 0,-48-6 0,50 2 0,-12-6 0,124-3 0,-107-17-1365,-63 16-5461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04:01.16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988 24575,'1'-4'0,"1"0"0,-1 1 0,1-1 0,-1 1 0,1 0 0,0-1 0,1 1 0,-1 0 0,1 0 0,-1 0 0,1 1 0,0-1 0,5-3 0,11-15 0,0-4 0,0 1 0,1 1 0,2 0 0,0 2 0,47-35 0,34-28 0,-65 51 0,77-51 0,47-30 0,-104 70 0,72-41 0,100-38 0,-122 63 0,-64 35 0,51-23 0,8 3-294,163-63-133,11 0 427,376-143 0,-563 215 1,80-36 599,-127 51-498,121-57-84,57-14-18,-166 65 0,-43 21 0,0-1 0,0 2 0,0 0 0,13-4 0,20-1 0,58-6 0,49-10 0,-118 21 0,51-15 0,23-5 0,68 0 0,-1 1 0,-104 14 0,-29 3 0,72-2 0,1492 10 0,-1576 1 0,57 10 0,-57-7 0,53 3 0,1676-7 0,-827-3 0,-899 4 0,61 11 0,-20-2 0,-46-6 0,-1 0 0,-1 2 0,29 12 0,-30-10 0,0-1 0,1-1 0,40 5 0,-36-8 0,0 2 0,0 0 0,-1 2 0,0 1 0,40 19 0,-43-19 0,0 0 0,0-1 0,33 4 0,42 13 0,99 26 0,23 8 0,-84-16 0,23 8 0,-98-28 0,-31-13 0,-1 2 0,47 26 0,10 8 0,-54-30 0,-1 2 0,59 42 0,-42-24 0,108 57 0,-57-38 0,29 23 0,39 17 0,43 29 0,-190-110 0,42 20 0,-47-26 0,-1 0 0,-1 1 0,1 1 0,-2 0 0,21 18 0,-23-18 0,0 1 0,25 14 0,16 12 0,-40-28 0,0 1 0,25 11 0,-11-6 0,73 35 0,-31-18 0,-55-26 0,0 0 0,-1 1 0,23 14 0,-32-17 0,0 0 0,-1 0 0,1 0 0,-1 0 0,0 1 0,0 0 0,0 0 0,-1 0 0,0 1 0,0-1 0,0 1 0,-1-1 0,3 9 0,8 25-227,-2 1-1,-2 0 1,-1 1-1,-3 0 1,2 56-1,-7-75-6598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08:23.03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01 24575,'3'0'0,"-1"0"0,0 1 0,0-1 0,0 1 0,1 0 0,-1-1 0,0 1 0,0 0 0,0 0 0,0 0 0,-1 1 0,1-1 0,0 0 0,0 1 0,-1-1 0,1 1 0,-1 0 0,1-1 0,-1 1 0,0 0 0,1 0 0,-1 0 0,0 0 0,0 0 0,-1 0 0,2 3 0,3 9 0,-1 0 0,0 0 0,1 16 0,-1-6 0,-1-7 0,-1 1 0,-1-1 0,-1 22 0,-1-24 0,1-1 0,1 1 0,0 0 0,5 23 0,-5-38 0,-1 1 0,0 0 0,0 0 0,0-1 0,1 1 0,-1 0 0,0-1 0,1 1 0,-1 0 0,1-1 0,-1 1 0,0-1 0,1 1 0,-1-1 0,1 1 0,0-1 0,-1 1 0,1-1 0,-1 1 0,1-1 0,0 0 0,-1 1 0,1-1 0,0 0 0,-1 0 0,1 1 0,0-1 0,0 0 0,-1 0 0,1 0 0,0 0 0,0 0 0,-1 0 0,1 0 0,0 0 0,0 0 0,-1 0 0,1-1 0,0 1 0,-1 0 0,1 0 0,0-1 0,-1 1 0,1 0 0,0-1 0,-1 1 0,2-1 0,35-29 0,-23 19 0,41-37 0,-43 36 0,2 0 0,0 1 0,18-12 0,-24 17 0,0 0 0,-1 0 0,0-1 0,12-13 0,23-20 0,-5 10 0,-1-1 0,36-40 0,-35 33 0,-37 37 0,1 0 0,0 0 0,-1 0 0,1 0 0,0 1 0,0-1 0,-1 0 0,1 0 0,0 1 0,0-1 0,0 0 0,0 1 0,0-1 0,0 1 0,0 0 0,0-1 0,0 1 0,0 0 0,0-1 0,0 1 0,1 0 0,-1 0 0,0 0 0,0 0 0,0 0 0,0 0 0,0 0 0,2 1 0,-2 0 0,1 1 0,-1-1 0,0 0 0,0 1 0,0-1 0,0 1 0,0 0 0,0-1 0,0 1 0,-1 0 0,1-1 0,-1 1 0,1 0 0,-1 0 0,1 3 0,1 14 0,-1 1 0,-2 30 0,1-39 0,1 19 0,1 0 0,11 50 0,-5-39 0,-8-40 0,0 1 0,0-1 0,0 1 0,1-1 0,-1 1 0,1-1 0,-1 1 0,1-1 0,-1 0 0,1 1 0,0-1 0,0 0 0,0 1 0,0-1 0,2 2 0,-3-3 0,1 1 0,-1-1 0,1 0 0,0 0 0,-1 0 0,1 0 0,-1 0 0,1 0 0,0 0 0,-1 0 0,1 0 0,0 0 0,-1 0 0,1 0 0,-1 0 0,1 0 0,0 0 0,-1-1 0,1 1 0,-1 0 0,1 0 0,-1-1 0,1 1 0,-1 0 0,1-1 0,0 0 0,6-5 0,-1 0 0,0-1 0,0 0 0,7-11 0,2-3 0,115-131 0,-119 142 0,0 1 0,0 0 0,1 0 0,0 1 0,0 0 0,19-7 0,5-6 0,-25 15 0,1 0 0,-1 0 0,1 1 0,0 0 0,0 1 0,0 1 0,0 0 0,17-2 0,-25 5 0,0-1 0,1 1 0,-1 0 0,0 1 0,1-1 0,-1 1 0,0-1 0,0 1 0,1 1 0,-1-1 0,0 0 0,0 1 0,0 0 0,-1 0 0,1 0 0,0 1 0,-1-1 0,1 1 0,-1 0 0,0-1 0,0 2 0,0-1 0,0 0 0,0 1 0,-1-1 0,4 8 0,7 19 34,-1 1-1,-2 0 1,8 36-1,-9-28-783,20 50 1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08:23.59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24575,'0'0'-8191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08:24.09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0 24575,'0'0'-8191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08:25.14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 54 24575,'-3'115'0,"6"124"0,-3-238 0,0 0 0,0 1 0,0-1 0,0 1 0,1-1 0,-1 1 0,0-1 0,1 0 0,-1 1 0,1-1 0,-1 0 0,1 1 0,0-1 0,-1 0 0,1 0 0,0 0 0,0 1 0,2 0 0,-2-2 0,-1 0 0,1-1 0,0 1 0,0 0 0,-1-1 0,1 1 0,0-1 0,-1 1 0,1-1 0,-1 0 0,1 1 0,-1-1 0,1 0 0,-1 1 0,1-1 0,-1 0 0,1 0 0,-1 1 0,0-1 0,0 0 0,1 0 0,-1 0 0,0 1 0,0-1 0,0 0 0,0 0 0,0 0 0,0 0 0,0 1 0,0-1 0,0-2 0,2-13 0,0 0 0,2 1 0,0-1 0,0 1 0,2 0 0,0 0 0,0 0 0,2 1 0,-1 0 0,2 0 0,0 1 0,21-24 0,-6 12 0,-14 13 0,0 2 0,1 0 0,0 0 0,0 1 0,22-14 0,22-12 0,-47 28 0,2 0 0,-1 1 0,1 0 0,0 1 0,0 0 0,0 0 0,1 1 0,0 0 0,0 1 0,0 0 0,21-2 0,-23 5 0,6-1 0,0 1 0,28 3 0,-39-2 0,0-1 0,0 1 0,0 0 0,0 1 0,-1-1 0,1 1 0,0 0 0,-1 0 0,1 0 0,-1 0 0,1 0 0,-1 1 0,0 0 0,0-1 0,4 6 0,20 26 0,-13-17 0,-1-1 0,16 29 0,-16-25 0,0 0 0,32 34 0,4 6 0,89 112-1365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08:34.99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470 24575,'89'2'0,"100"-5"0,-151-2 0,74-22 0,-62 14 0,-26 6 0,0 0 0,-1-2 0,0 0 0,-1-2 0,40-25 0,-35 19 0,-5 3 0,0 0 0,-1-2 0,31-30 0,43-68 0,-7 7 0,-88 106 0,1-1 0,0 1 0,0 0 0,0 0 0,0 0 0,0 0 0,1 0 0,-1 0 0,0 0 0,0 0 0,1 0 0,-1 1 0,0-1 0,1 0 0,-1 1 0,1-1 0,1 0 0,-2 2 0,-1 0 0,1-1 0,-1 1 0,0-1 0,1 1 0,-1-1 0,0 1 0,1 0 0,-1-1 0,0 1 0,0 0 0,0-1 0,1 1 0,-1 0 0,0 0 0,0-1 0,0 1 0,0 0 0,0-1 0,0 1 0,-1 0 0,1-1 0,0 1 0,0 0 0,-1 0 0,-18 65 0,16-56 0,-54 135 0,40-105 0,6-13 0,0 2 0,2-1 0,1 2 0,2-1 0,0 1 0,2 0 0,2 0 0,0 30 0,2-2 0,2 60 0,-2-116-105,1 1 0,-1 0 0,1 0 0,-1-1 0,1 1 0,0-1 0,0 1 0,0-1 0,0 1 0,1-1 0,-1 0 0,3 4 0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08:36.07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2 61 24575,'-1'0'0,"0"1"0,0-1 0,0 0 0,0 1 0,0-1 0,0 1 0,0-1 0,1 1 0,-1-1 0,0 1 0,0 0 0,1-1 0,-1 1 0,0 0 0,1-1 0,-1 1 0,1 0 0,-1 0 0,1 0 0,-1 0 0,1-1 0,-1 1 0,1 0 0,0 0 0,-1 1 0,-7 32 0,4-18 0,-7 15 0,4-12 0,0 0 0,2 0 0,-6 31 0,11-48 0,-1 0 0,1-1 0,0 1 0,0 0 0,0-1 0,0 1 0,1 0 0,-1-1 0,0 1 0,1-1 0,-1 1 0,1 0 0,-1-1 0,1 1 0,0-1 0,0 0 0,-1 1 0,1-1 0,0 0 0,0 1 0,1-1 0,-1 0 0,0 0 0,3 2 0,-2-1 0,1-1 0,0 0 0,1 0 0,-1 0 0,0 0 0,0-1 0,0 1 0,1-1 0,-1 0 0,0 0 0,6 0 0,5-2 0,0 0 0,0-1 0,-1-1 0,24-8 0,27-18 0,-2-3 0,101-69 0,-9-19 0,-154 121 0,1-1 0,-1 1 0,1 0 0,0-1 0,-1 1 0,1 0 0,-1-1 0,1 1 0,-1 0 0,1 0 0,0-1 0,-1 1 0,1 0 0,0 0 0,-1 0 0,1 0 0,0 0 0,-1 0 0,1 0 0,-1 0 0,1 0 0,0 0 0,-1 0 0,1 1 0,0-1 0,-1 0 0,1 0 0,-1 1 0,1-1 0,-1 0 0,1 1 0,0 0 0,9 22 0,-8 29 0,-30 81 0,-23 93 0,46-203 0,-1 0 0,-1 0 0,-1 0 0,-1-1 0,-17 30 0,7-23-1365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08:37.35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 1 24575,'-1'81'0,"3"90"0,-2-168 0,0-1 0,0 0 0,0 0 0,1 1 0,-1-1 0,1 0 0,-1 0 0,1 0 0,0 0 0,0 0 0,0 0 0,0 0 0,0 0 0,1 0 0,-1 0 0,1 0 0,-1-1 0,1 1 0,-1-1 0,1 1 0,0-1 0,2 2 0,-1-2 0,0 0 0,0 0 0,0 0 0,0-1 0,0 1 0,0-1 0,0 0 0,0 0 0,0 0 0,1 0 0,-1 0 0,0-1 0,0 1 0,3-2 0,5-2 0,-1 1 0,0-1 0,0-1 0,0 0 0,-1-1 0,1 1 0,-1-2 0,9-7 0,5-5 0,0 1 0,1 1 0,32-16 0,0-1 0,120-66 0,-175 99 2,0 0 0,-1 0 0,1 0-1,0 0 1,0 1 0,0-1 0,0 0-1,0 1 1,0-1 0,0 1 0,0-1 0,0 1-1,0-1 1,0 1 0,0 0 0,1 0-1,-1-1 1,0 1 0,0 0 0,0 0-1,0 0 1,0 0 0,1 0 0,-1 1 0,0-1-1,0 0 1,0 1 0,0-1 0,0 0-1,0 1 1,0-1 0,0 1 0,0-1-1,0 1 1,0 0 0,0 0 0,0-1 0,0 1-1,0 0 1,0 0 0,-1 0 0,1 0-1,0 0 1,-1 0 0,1 0 0,-1 0 0,1 0-1,-1 0 1,1 0 0,-1 0 0,0 0-1,1 2 1,1 8-169,-1-1 0,0 1 0,0 0 0,-2 17 0,1-17-457,-1 12-6202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08:38.27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532 24575,'8'0'0,"12"1"0,0-1 0,1-1 0,-1 0 0,0-2 0,0 0 0,0-1 0,0-2 0,20-7 0,-16 2 0,0-1 0,-1-1 0,0-1 0,-1-1 0,-1-1 0,0-1 0,23-25 0,45-44 0,-40 42 0,-41 39 0,-1-1 0,0 1 0,0-1 0,-1-1 0,0 1 0,0-1 0,0 0 0,6-13 0,23-36 0,-27 46 0,-1-1 0,0 0 0,-1 0 0,0 0 0,-1-1 0,0 0 0,4-16 0,-6 259 0,-3-216 0,0 0 0,-1 1 0,0-1 0,-1 0 0,-1 0 0,-1 0 0,0 0 0,0-1 0,-10 19 0,11-25-227,0 0-1,0 1 1,1-1-1,0 0 1,-1 10-1,1 1-6598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6:58:53.83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01 1 24575,'-18'-1'0,"-1"1"0,1 1 0,0 0 0,-1 2 0,1 0 0,0 1 0,1 0 0,-32 14 0,27-9 7,-1-1-1,0-1 1,-1-1 0,0-1-1,1-1 1,-26 1 0,-148-4-258,97-3-910,78 2-5665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30T08:38:18.584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4'0,"6"0,5 0,5 0,3 0,1 0,2 0,1 0,-1 0,0 0,0 0,-1 0,1 0,-1 0,0 0,0 0,-4 0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30T08:38:21.675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4'0,"6"0,5 0,5 0,3 0,2 0,1 0,0 0,0 0,0 0,0 0,0 0,-1 0,-4 0</inkml:trace>
</inkml:ink>
</file>

<file path=ppt/ink/ink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39:07.10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286 24575,'4'-1'0,"0"0"0,0-1 0,0 0 0,-1 0 0,1 0 0,-1 0 0,1 0 0,-1-1 0,6-5 0,8-5 0,-5 5 0,1-1 0,-1-1 0,-1 0 0,0 0 0,13-17 0,-13 15 0,26-23 0,-28 29 0,-1-1 0,0-1 0,0 0 0,11-15 0,-12 14 0,0 0 0,1 0 0,0 1 0,1 0 0,0 1 0,0 0 0,12-8 0,-20 15 0,0 0 0,0-1 0,-1 1 0,1-1 0,0 1 0,0 0 0,0 0 0,0 0 0,-1-1 0,1 1 0,0 0 0,0 0 0,0 0 0,0 0 0,0 0 0,-1 1 0,1-1 0,0 0 0,0 0 0,0 0 0,0 1 0,-1-1 0,1 0 0,0 1 0,0-1 0,-1 1 0,1-1 0,0 1 0,-1-1 0,1 1 0,0 0 0,-1-1 0,1 1 0,-1 0 0,1-1 0,-1 1 0,1 0 0,-1 0 0,0-1 0,1 1 0,-1 0 0,0 0 0,0 0 0,0 0 0,1-1 0,-1 1 0,0 0 0,0 0 0,0 1 0,4 51 0,-4-48 0,-1 61 0,-1-33 0,2-1 0,1 1 0,2-1 0,8 40 0,-7-50-341,0-1 0,-2 1-1,0 27 1,-2-27-6485</inkml:trace>
</inkml:ink>
</file>

<file path=ppt/ink/ink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39:08.40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8 185 24575,'-5'17'0,"3"1"0,2-18 0,1 1 0,0 0 0,-1-1 0,1 1 0,0-1 0,-1 0 0,1 1 0,0-1 0,0 0 0,0 1 0,-1-1 0,1 0 0,0 0 0,0 1 0,0-1 0,0 0 0,0 0 0,-1 0 0,1 0 0,0 0 0,0-1 0,0 1 0,0 0 0,-1 0 0,1 0 0,1-1 0,8-2 0,0 0 0,-1-1 0,1 0 0,-1-1 0,0 0 0,0 0 0,-1-1 0,0 0 0,14-13 0,-9 8 0,-1 1 0,29-16 0,-8 9 0,53-41 0,-67 45 0,-15 10 0,1-1 0,0 1 0,0-1 0,0 1 0,0 0 0,1 1 0,9-4 0,-14 5 0,0 1 0,0 0 0,0 0 0,0 0 0,0 0 0,-1 0 0,1 0 0,0 0 0,0 0 0,0 1 0,0-1 0,0 0 0,0 0 0,-1 1 0,1-1 0,0 0 0,0 1 0,0-1 0,-1 1 0,2 0 0,-1 1 0,0-1 0,1 1 0,-1-1 0,0 1 0,-1 0 0,1 0 0,0-1 0,0 1 0,-1 0 0,1 0 0,-1 0 0,1 0 0,-1 2 0,4 41 0,-2 0 0,-3 0 0,-5 50 0,3-83 0,0 1 0,-1-1 0,-1 1 0,0-1 0,0 0 0,-1-1 0,-1 1 0,-12 14 0,-16 35 0,6-15-1365</inkml:trace>
</inkml:ink>
</file>

<file path=ppt/ink/ink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39:09.24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53 0 24575,'-1'13'0,"-1"0"0,1 0 0,-2 0 0,0 0 0,-1 0 0,0-1 0,-7 15 0,-48 85 0,46-89 0,-3 3-72,11-19-71,1-1-1,0 1 0,0 0 1,1 0-1,0 0 0,0 0 0,1 1 1,-3 11-1,3 1-6682</inkml:trace>
</inkml:ink>
</file>

<file path=ppt/ink/ink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47:33.50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 6063 24575,'-1'-106'0,"3"-116"0,5 177 0,2 1 0,2 0 0,32-82 0,-12 37 0,30-70 0,-12 42 0,-24 62 0,44-74 50,-22 44-653,-11 24 560,1 3 0,48-57-1,-5 9 64,202-258-2013,-154 205 1414,416-515-914,-235 296 1493,-107 129 0,-47 54 0,503-539-27,-329 427 2306,-216 213-1795,146-111-722,-155 135 865,-54 38-266,51-42-1,6-4 429,-81 60-696,126-86-93,-98 72 0,77-33 0,-10 6 0,-63 32 0,0 2 0,79-21 0,74-31 0,-156 54 0,63-16 0,10-5 0,-22 9 0,25-11 0,61-25 0,6 1 0,-80 31 0,-76 28 0,0 1 0,0 2 0,78-5 0,-104 11 0,57-9 0,20-1 0,846 10-862,-458 5 547,1499-3 315,-1794 13-695,-1 0 15,2660-13 2520,-1326-1-1128,-1491 2-712,0 2 0,29 6 0,-28-4 0,54 3 0,-75-8 0,59 1 0,99 12 0,-69 3 0,181 4 0,-56-5-404,-112-4-85,-6 0 489,58 3 0,-88-14 0,0 3 0,129 22 0,-39 0 0,14 4 0,-27-3 0,-84-15 0,90 25 0,91 24 0,-130-39-174,95 24-263,4 6 437,340 77 0,-271-78 0,-143-28 0,27 6 0,118 20 0,-191-29 0,47 12 0,-50-10 0,-55-14 0,45 16 0,111 30 865,-33-11-578,25 8 65,98 50-352,-84-4 0,-98-43 0,-31-19 0,107 59 0,78 44 0,-103-60 0,-21-16-185,-81-39-250,77 45 1,-94-47 416,2-2 1,46 17 0,47 23 27,-104-44-22,78 48 163,-73-43 354,38 19 0,-43-25-523,0 1 1,43 32-1,-44-26 18,-1 2 0,30 34 0,-1 8 0,37 41 0,24 18 0,24 23 0,54 58 0,-177-188 0,-1 1 0,13 20 0,7 8 0,54 81 0,-38-50 0,164 250 0,-109-179 0,-22-33 0,-32-46 0,-19-29 0,-23-29 0,0 1 0,-1 0 0,0 0 0,-1 1 0,11 24 0,21 51 0,-24-58 0,19 59 0,-26-62 0,2 1 0,0-1 0,21 37 0,-20-42 0,-2 1 0,0 1 0,8 34 0,-10-33 0,1 1 0,21 44 0,-7-23 0,27 83 0,1 3 0,35 84 0,-53-125 0,-25-65 0,2-1 0,1 1 0,13 24 0,-9-22 0,-2 0 0,-1 1 0,8 31 0,5 15 0,-4-10 0,9 23 0,-23-71 0,0 0 0,-2 0 0,5 31 0,-1-4 0,17 107-1365,-21-134-5461</inkml:trace>
</inkml:ink>
</file>

<file path=ppt/ink/ink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47:34.85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24575,'2'25'0,"1"0"0,1-1 0,1 1 0,10 29 0,5 21 0,-15-51 0,-1-2 0,0-1 0,1 0 0,2 0 0,0 0 0,1-1 0,12 21 0,-17-37 0,-1-1 0,2 0 0,-1 0 0,0 0 0,1 0 0,-1 0 0,1-1 0,0 0 0,0 1 0,0-1 0,0-1 0,0 1 0,1-1 0,-1 1 0,0-1 0,1 0 0,-1-1 0,1 1 0,-1-1 0,0 0 0,1 0 0,-1 0 0,1-1 0,7-1 0,2-1 0,0 0 0,-1-1 0,1 0 0,-1-1 0,1 0 0,18-12 0,-10 4 0,3-1 0,-1-1 0,29-23 0,-18 11 0,64-38 0,-38 28 0,162-120 0,-222 156 0,1 0 0,-1-1 0,1 1 0,0 0 0,-1 0 0,1 0 0,0 0 0,0 0 0,0 0 0,0 1 0,0-1 0,0 0 0,0 1 0,0 0 0,0-1 0,0 1 0,0 0 0,0 0 0,0 0 0,0 0 0,0 1 0,0-1 0,0 0 0,0 1 0,0 0 0,0-1 0,0 1 0,0 0 0,-1 0 0,1 0 0,0 0 0,0 0 0,2 3 0,2 3 0,0 0 0,0 1 0,-1 0 0,0 0 0,-1 1 0,5 10 0,13 22 0,-3-13 0,-18-23 0,2-1 0,-1 0 0,0 1 0,1-1 0,0 0 0,0-1 0,0 1 0,0 0 0,1-1 0,0 0 0,-1 0 0,1 0 0,0 0 0,0-1 0,1 1 0,-1-1 0,0 0 0,1 0 0,0-1 0,-1 1 0,10 0 0,-2-1 13,1 0 0,0-2 0,-1 0-1,1 0 1,0-1 0,-1 0 0,0-1-1,24-10 1,4-4-673,47-27 0,-83 41 500</inkml:trace>
</inkml:ink>
</file>

<file path=ppt/ink/ink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47:35.68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24575,'5'0'0,"5"0"0,1 4 0,3 6 0,-1 5 0,1 1 0,-1 1 0,1-2 0</inkml:trace>
</inkml:ink>
</file>

<file path=ppt/ink/ink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47:36.03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24575,'0'0'-8191</inkml:trace>
</inkml:ink>
</file>

<file path=ppt/ink/ink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47:36.32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24575,'0'4'0,"0"6"0,4 1 0,2 3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6:59:00.05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24575,'0'5'0,"0"5"0,0 5 0,0 5 0,0 3 0,0 1 0,0 2 0,0 1 0,0-1 0,0 0 0,0 0 0,0-1 0,0 0 0,0 1 0,0-1 0,0-4-8191</inkml:trace>
</inkml:ink>
</file>

<file path=ppt/ink/ink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47:37.24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24575,'1'0'0,"0"0"0,0 1 0,1-1 0,-1 1 0,0 0 0,0-1 0,0 1 0,0 0 0,-1-1 0,1 1 0,0 0 0,0 0 0,0 0 0,-1 0 0,1 0 0,0 0 0,-1 0 0,1 0 0,-1 0 0,1 0 0,-1 0 0,1 0 0,-1 1 0,0-1 0,0 0 0,0 0 0,1 2 0,3 38 0,-4-36 0,0 46 0,-1-39 0,0-1 0,1 0 0,0 1 0,1-1 0,1 0 0,4 19 0,-6-28 0,1 0 0,0 0 0,-1 0 0,1-1 0,0 1 0,1 0 0,-1 0 0,0-1 0,0 1 0,1-1 0,-1 1 0,0-1 0,1 0 0,0 1 0,-1-1 0,1 0 0,0 0 0,-1 0 0,1 0 0,0-1 0,0 1 0,0 0 0,3 0 0,-1-1 0,0 0 0,0 0 0,1 0 0,-1 0 0,0-1 0,0 0 0,0 0 0,0 0 0,0 0 0,7-4 0,2-1 0,-1-1 0,0 0 0,0-1 0,0 0 0,17-18 0,-20 19 0,1 0 0,-1 0 0,1 1 0,0 0 0,20-7 0,5-5 0,-32 16 0,1 0 0,0 0 0,0 0 0,0 1 0,0-1 0,0 1 0,0 0 0,0 0 0,0 1 0,0-1 0,0 1 0,1 0 0,-1 0 0,0 0 0,0 0 0,1 1 0,-1 0 0,0 0 0,0 0 0,0 0 0,0 1 0,0-1 0,0 1 0,5 4 0,-1-1 0,-2 1 0,1 1 0,-1-1 0,0 1 0,0 0 0,0 0 0,-1 1 0,-1 0 0,1 0 0,4 12 0,8 14-1365</inkml:trace>
</inkml:ink>
</file>

<file path=ppt/ink/ink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47:53.650"/>
    </inkml:context>
    <inkml:brush xml:id="br0">
      <inkml:brushProperty name="width" value="0.1" units="cm"/>
      <inkml:brushProperty name="height" value="0.1" units="cm"/>
      <inkml:brushProperty name="color" value="#66CC00"/>
    </inkml:brush>
  </inkml:definitions>
  <inkml:trace contextRef="#ctx0" brushRef="#br0">3698 811 24575,'-1'-3'0,"1"0"0,-1 1 0,0-1 0,0 1 0,0-1 0,0 1 0,0 0 0,0 0 0,-1-1 0,1 1 0,-1 0 0,0 0 0,0 0 0,1 0 0,-1 1 0,-3-3 0,-38-27 0,37 27 0,-9-7 0,0-1 0,-21-23 0,-6-5 0,-64-40 0,65 51 0,-65-61 0,6 14 0,83 64 0,0 0 0,0 0 0,-1 2 0,-1 0 0,0 1 0,0 1 0,-23-6 0,-27-13 0,28 11 0,0 3 0,-1 1 0,-1 2 0,-74-7 0,1-7 0,88 16 0,0 2 0,0 1 0,-49-2 0,53 7 0,0-1 0,0-2 0,-41-8 0,-11-4 0,-88-6 0,91 9 0,49 7 0,0 1 0,-32 0 0,18 2 0,-46-8 0,47 4 0,-55-1 0,63 8 0,1-2 0,-1-1 0,-47-10 0,32 5 0,1 2 0,-1 2 0,0 2 0,-47 5 0,-10-2 0,-13-4 0,-124 5 0,218 1 0,0 0 0,0 2 0,1 0 0,0 1 0,0 1 0,-29 17 0,36-16 0,0 0 0,0 1 0,1 0 0,1 1 0,0 0 0,0 1 0,-11 18 0,-13 14 0,-40 57 0,22-27 0,6-13 0,2 2 0,-62 119 0,94-157-105,-35 67-1155</inkml:trace>
</inkml:ink>
</file>

<file path=ppt/ink/ink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47:55.023"/>
    </inkml:context>
    <inkml:brush xml:id="br0">
      <inkml:brushProperty name="width" value="0.1" units="cm"/>
      <inkml:brushProperty name="height" value="0.1" units="cm"/>
      <inkml:brushProperty name="color" value="#66CC00"/>
    </inkml:brush>
  </inkml:definitions>
  <inkml:trace contextRef="#ctx0" brushRef="#br0">1 482 24575,'1'-4'0,"1"0"0,0 0 0,0 0 0,0 0 0,0 0 0,1 0 0,-1 1 0,1-1 0,0 1 0,0 0 0,1 0 0,5-5 0,8-9 0,7-15 0,-1-1 0,28-53 0,-3 3 0,-41 68 0,0-1 0,-1 1 0,-1-1 0,-1-1 0,0 1 0,2-28 0,1 4 0,-2 221 0,-5 121-1365,0-280-5461</inkml:trace>
</inkml:ink>
</file>

<file path=ppt/ink/ink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47:56.610"/>
    </inkml:context>
    <inkml:brush xml:id="br0">
      <inkml:brushProperty name="width" value="0.1" units="cm"/>
      <inkml:brushProperty name="height" value="0.1" units="cm"/>
      <inkml:brushProperty name="color" value="#66CC00"/>
    </inkml:brush>
  </inkml:definitions>
  <inkml:trace contextRef="#ctx0" brushRef="#br0">96 0 24575,'-20'53'0,"-5"41"0,17-70 0,1-1 0,2 1 0,0 0 0,-2 36 0,-2-10 0,7-43 0,0-1 0,0 0 0,1 0 0,0 1 0,0-1 0,1 1 0,0-1 0,0 1 0,2 9 0,-2-15 0,0 1 0,0-1 0,1 0 0,-1 0 0,1 1 0,-1-1 0,1 0 0,0 0 0,-1 0 0,1 0 0,0 0 0,0 0 0,0 0 0,-1 0 0,1 0 0,0 0 0,1 0 0,-1 0 0,0-1 0,0 1 0,0 0 0,0-1 0,0 1 0,1-1 0,-1 0 0,0 1 0,2-1 0,0 0 0,0 0 0,-1 0 0,1-1 0,0 1 0,0-1 0,0 0 0,-1 0 0,1 0 0,0 0 0,-1 0 0,5-4 0,5-3 0,0-1 0,-1 0 0,17-18 0,-21 20 0,1 1 0,-1 1 0,1-1 0,0 1 0,1 1 0,-1 0 0,1 0 0,16-5 0,-19 7 0,1-1 0,0 2 0,0-1 0,0 1 0,0 0 0,0 0 0,0 1 0,0 0 0,0 1 0,0-1 0,0 1 0,10 3 0,-14-2 0,0 0 0,0 1 0,0 0 0,0-1 0,0 1 0,0 0 0,0 0 0,-1 1 0,0-1 0,0 1 0,0-1 0,0 1 0,0-1 0,-1 1 0,1 0 0,-1 0 0,1 8 0,11 71 0,-12 74 35,-2-89-1435,1-46-5426</inkml:trace>
</inkml:ink>
</file>

<file path=ppt/ink/ink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48:02.148"/>
    </inkml:context>
    <inkml:brush xml:id="br0">
      <inkml:brushProperty name="width" value="0.1" units="cm"/>
      <inkml:brushProperty name="height" value="0.1" units="cm"/>
      <inkml:brushProperty name="color" value="#66CC00"/>
    </inkml:brush>
  </inkml:definitions>
  <inkml:trace contextRef="#ctx0" brushRef="#br0">14562 2416 24575,'0'-5'0,"-1"1"0,0-1 0,0 0 0,0 0 0,-1 1 0,1-1 0,-1 1 0,0-1 0,0 1 0,-1 0 0,-3-5 0,-38-46 0,16 21 0,-76-100 0,15 23 0,29 16 0,37 56 0,-50-63 0,57 82 0,-23-41 0,27 41 0,-1 0 0,-22-26 0,-181-169 0,89 114 0,-70-30 0,73 44 0,-79-48 0,78 60 0,-120-62 0,175 97 0,53 28 0,0 2 0,-1 0 0,-29-11 0,-3 2 0,-48-27 0,79 36 0,-9-2 0,-49-14 0,-7-2 0,32 8 0,-67-15 0,32 6 0,61 19 0,0 1 0,-55-10 0,48 13 0,0-2 0,-41-15 0,42 12 0,0 1 0,-47-7 0,-82-18 0,36 5 0,-209-31-698,124 30 610,39 7-156,112 14 148,-114-6-1,90 12 97,-100-17 0,103 10 0,-110-3 0,142 15 0,-16 0 0,0-3 0,-80-12 0,69 6 0,-1 3 0,-115 6 0,61 2 0,-86-1 0,-232-5 0,320-9-495,-55-2-340,-1898 15 380,2051 0 455,-55 11 0,53-6 0,-44 1 0,35-4 287,0 3 1,-59 14-1,-16 2 148,-133 34 1204,213-47-1567,13-4-72,-47 4 0,-12 2 0,-16 1 0,69-10 0,-46 9 0,-125 39 0,175-44 0,0-2 0,0-1 0,-35 0 0,-47 6 0,53-2 0,1-3 0,-83-3 0,76-3 0,-99 12 0,27 2 0,-32 7 0,117-13 0,-1-2 0,-66-3 0,69-2 0,-1 2 0,-80 12 0,84-7 0,0-1 0,-64-3 0,62-2 0,1 2 0,-56 8 0,38 3 0,-78 12 0,13-2 0,102-18 0,1 2 0,0 0 0,0 2 0,-34 17 0,27-12 0,-45 15 0,47-19 0,0 2 0,-40 22 0,-14 7 0,58-31 0,-90 43 0,89-40 0,-2-1 0,-38 12 0,47-19 0,0 1 0,0 1 0,1 0 0,0 1 0,1 1 0,0 1 0,0 0 0,-19 18 0,-89 75 0,99-83 0,14-12 0,0 1 0,1 0 0,-13 16 0,12-14 0,0 0 0,-1 0 0,-22 15 0,-21 18 0,-196 183 0,125-128 0,40-25 0,-4 4 0,68-56 0,-2-1 0,-39 28 0,-14 25 0,60-58 0,0 0 0,1 1 0,-20 30 0,17-22 0,-37 40 0,37-45 0,1 1 0,1 1 0,-15 25 0,10-12 0,14-23 0,0 0 0,1 1 0,-8 18 0,-16 22 0,6-13 0,-26 60 0,-13 37 0,55-121-1365</inkml:trace>
</inkml:ink>
</file>

<file path=ppt/ink/ink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48:06.410"/>
    </inkml:context>
    <inkml:brush xml:id="br0">
      <inkml:brushProperty name="width" value="0.1" units="cm"/>
      <inkml:brushProperty name="height" value="0.1" units="cm"/>
      <inkml:brushProperty name="color" value="#66CC00"/>
    </inkml:brush>
  </inkml:definitions>
  <inkml:trace contextRef="#ctx0" brushRef="#br0">2 7 24575,'-1'36'0,"1"0"0,0 1 0,3-1 0,10 57 0,-10-74 0,-1 1 0,-1 0 0,-1 36 0,-1-39 0,0 0 0,2 0 0,0 0 0,1 0 0,4 18 0,-6-34 0,0 0 0,0-1 0,0 1 0,1 0 0,-1 0 0,0-1 0,0 1 0,1 0 0,-1-1 0,0 1 0,1 0 0,-1-1 0,0 1 0,1-1 0,-1 1 0,1-1 0,-1 1 0,1-1 0,0 1 0,-1-1 0,1 1 0,-1-1 0,1 0 0,0 1 0,-1-1 0,1 0 0,0 1 0,0-1 0,-1 0 0,1 0 0,1 0 0,-1 0 0,1-1 0,-1 1 0,1-1 0,0 1 0,-1-1 0,1 0 0,-1 0 0,0 0 0,1 0 0,-1 0 0,0 0 0,0 0 0,2-2 0,30-41 0,-33 44 0,171-233 0,-169 230 0,17-21 0,43-40 0,-56 58 0,0 0 0,1 1 0,0 0 0,0 1 0,0-1 0,0 1 0,1 1 0,-1-1 0,1 1 0,0 1 0,0-1 0,9 0 0,-15 2 0,1 1 0,0 1 0,0-1 0,-1 0 0,1 1 0,0-1 0,-1 1 0,1 0 0,0 0 0,-1 0 0,1 0 0,-1 1 0,0-1 0,1 0 0,-1 1 0,0 0 0,0 0 0,0-1 0,0 1 0,0 0 0,0 1 0,0-1 0,-1 0 0,1 0 0,-1 1 0,0-1 0,0 1 0,0-1 0,0 1 0,0 0 0,0-1 0,-1 1 0,1 5 0,2 9 0,0 1 0,-2 0 0,0 33 0,-2-43 0,0 21 0,1 50 0,1-73 0,0 0 0,0 0 0,0 0 0,0 0 0,1 0 0,0 0 0,1 0 0,-1-1 0,1 1 0,3 5 0,-5-11 0,-1 1 0,0-1 0,1 1 0,-1-1 0,1 0 0,-1 1 0,0-1 0,1 1 0,-1-1 0,1 0 0,-1 0 0,1 1 0,-1-1 0,1 0 0,-1 0 0,1 1 0,-1-1 0,1 0 0,0 0 0,-1 0 0,1 0 0,-1 0 0,1 0 0,-1 0 0,1 0 0,0 0 0,-1 0 0,1 0 0,-1 0 0,1 0 0,-1-1 0,1 1 0,0-1 0,19-16 0,9-28 0,-29 45 0,16-24 0,0 0 0,2 1 0,1 1 0,42-38 0,-23 23 0,62-38 0,1 0 0,-100 74 0,-1 0 0,1 0 0,0 0 0,0 0 0,-1 1 0,1-1 0,0 0 0,0 0 0,0 1 0,0-1 0,0 1 0,0-1 0,0 1 0,0-1 0,1 1 0,-1 0 0,0-1 0,0 1 0,0 0 0,0 0 0,0 0 0,1 0 0,-1 0 0,0 0 0,0 0 0,0 0 0,2 1 0,-2 0 0,0 0 0,0 0 0,0 1 0,0-1 0,0 0 0,0 1 0,0-1 0,0 1 0,0-1 0,0 1 0,-1-1 0,1 1 0,-1 0 0,1-1 0,-1 1 0,0 2 0,2 14 0,-1 1 0,-2 31 0,1-36 0,-2 468 0,7-437-1365,0-29-5461</inkml:trace>
</inkml:ink>
</file>

<file path=ppt/ink/ink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48:06.814"/>
    </inkml:context>
    <inkml:brush xml:id="br0">
      <inkml:brushProperty name="width" value="0.1" units="cm"/>
      <inkml:brushProperty name="height" value="0.1" units="cm"/>
      <inkml:brushProperty name="color" value="#66CC00"/>
    </inkml:brush>
  </inkml:definitions>
  <inkml:trace contextRef="#ctx0" brushRef="#br0">1 1 24575,'0'0'-8191</inkml:trace>
</inkml:ink>
</file>

<file path=ppt/ink/ink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48:07.223"/>
    </inkml:context>
    <inkml:brush xml:id="br0">
      <inkml:brushProperty name="width" value="0.1" units="cm"/>
      <inkml:brushProperty name="height" value="0.1" units="cm"/>
      <inkml:brushProperty name="color" value="#66CC00"/>
    </inkml:brush>
  </inkml:definitions>
  <inkml:trace contextRef="#ctx0" brushRef="#br0">1 0 24575,'0'0'-8191</inkml:trace>
</inkml:ink>
</file>

<file path=ppt/ink/ink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48:08.139"/>
    </inkml:context>
    <inkml:brush xml:id="br0">
      <inkml:brushProperty name="width" value="0.1" units="cm"/>
      <inkml:brushProperty name="height" value="0.1" units="cm"/>
      <inkml:brushProperty name="color" value="#66CC00"/>
    </inkml:brush>
  </inkml:definitions>
  <inkml:trace contextRef="#ctx0" brushRef="#br0">3 1 24575,'-2'123'0,"5"132"0,-3-252 0,0-1 0,0 0 0,1 0 0,-1 1 0,1-1 0,0 0 0,-1 0 0,1 0 0,0 0 0,0 0 0,0 0 0,2 2 0,-2-3 0,-1 0 0,1-1 0,-1 1 0,1-1 0,0 1 0,-1-1 0,1 1 0,0-1 0,-1 0 0,1 1 0,0-1 0,0 0 0,0 0 0,-1 1 0,1-1 0,0 0 0,0 0 0,-1 0 0,1 0 0,0 0 0,0 0 0,0 0 0,1-1 0,0 0 0,0 0 0,1 0 0,-1 0 0,0 0 0,0-1 0,0 1 0,0-1 0,0 0 0,0 0 0,0 0 0,-1 0 0,1 0 0,-1 0 0,1 0 0,-1 0 0,0 0 0,0-1 0,0 1 0,2-4 0,7-25 0,-1-1 0,8-54 0,-16 80 0,0 1 0,1-1 0,0 0 0,0 1 0,0-1 0,0 1 0,1 0 0,0 0 0,0 0 0,0 0 0,0 0 0,1 1 0,0-1 0,0 1 0,0 0 0,1 0 0,-1 1 0,1-1 0,0 1 0,0 0 0,0 0 0,0 1 0,1-1 0,-1 1 0,1 0 0,10-1 0,10-3 0,1 2 0,0 1 0,1 2 0,37 2 0,-47-1 0,9 0 0,0 1 0,-1 2 0,1 0 0,-1 2 0,0 1 0,0 1 0,25 11 0,-48-17 4,0 1 0,0-1-1,-1 1 1,1 0 0,-1 0-1,1 0 1,-1 0 0,0 1-1,0-1 1,0 0 0,0 1-1,0 0 1,0-1-1,-1 1 1,0 0 0,1 0-1,-1 0 1,0 0 0,0 0-1,0 0 1,0 5 0,1 6-160,-1 1 0,-1-1 0,-2 22 0,1-16-666,1 3-6004</inkml:trace>
</inkml:ink>
</file>

<file path=ppt/ink/ink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48:28.085"/>
    </inkml:context>
    <inkml:brush xml:id="br0">
      <inkml:brushProperty name="width" value="0.1" units="cm"/>
      <inkml:brushProperty name="height" value="0.1" units="cm"/>
      <inkml:brushProperty name="color" value="#FFC114"/>
    </inkml:brush>
  </inkml:definitions>
  <inkml:trace contextRef="#ctx0" brushRef="#br0">0 863 24575,'2'-2'0,"0"-1"0,-1 1 0,1 0 0,0 0 0,0 0 0,0 0 0,0 1 0,1-1 0,-1 0 0,0 1 0,1 0 0,-1 0 0,1-1 0,-1 1 0,1 1 0,0-1 0,4-1 0,10-5 0,23-13 0,2 1 0,-1 2 0,56-14 0,-80 25 0,0-2 0,-1 1 0,30-20 0,-29 16 0,1 1 0,32-14 0,74-32 0,-61 25 0,285-129 0,-146 86 0,-185 68 0,0 1 0,0 0 0,29-4 0,0 1 0,-11 0 0,33-7 0,72-27 0,-101 31 0,1 1 0,0 2 0,52-3 0,-8 1 0,-1-3 0,89-27 0,-120 27 0,70-7 0,-8 1 0,-22 3 0,-48 10 0,79-23 0,-93 22 0,1 2 0,0 0 0,0 2 0,0 2 0,0 1 0,34 4 0,22-2 0,-87-2 0,31-1 0,-1 1 0,0 2 0,1 0 0,-1 2 0,0 1 0,55 18 0,27 19 0,101 41 0,-113-45 0,-58-24 0,49 25 0,-7-4 0,-58-26 0,44 24 0,120 53 0,-157-65 0,-2 1 0,-1 1 0,0 1 0,47 52 0,-72-70 0,97 118 0,-46-54 0,-51-63-60,1 1 0,-2 0 0,1 1-1,5 12 1,-5-9-1004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6:59:02.07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7 0 24575,'1'7'0,"0"0"0,1 0 0,0 0 0,0 0 0,0 0 0,1 0 0,0-1 0,0 1 0,1-1 0,7 11 0,50 56 0,-21-34 0,-29-30 0,-1 0 0,0 1 0,-1 0 0,0 0 0,0 1 0,-1 0 0,-1 1 0,8 15 0,-12-21 0,-1 0 0,0 0 0,0 0 0,0 0 0,-1 1 0,0-1 0,0 7 0,-1-11 0,0 0 0,0 0 0,-1-1 0,1 1 0,-1 0 0,0-1 0,1 1 0,-1-1 0,0 1 0,0 0 0,0-1 0,0 0 0,0 1 0,0-1 0,0 0 0,0 1 0,-1-1 0,1 0 0,0 0 0,-1 0 0,1 0 0,-1 0 0,0 0 0,1-1 0,-1 1 0,1 0 0,-1-1 0,0 1 0,0-1 0,-2 1 0,-10 0 13,1 1 1,0-2-1,-1 1 0,1-2 0,-1 0 1,1-1-1,0 0 0,-19-6 0,-55-5-1497,66 12-5342</inkml:trace>
</inkml:ink>
</file>

<file path=ppt/ink/ink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48:29.142"/>
    </inkml:context>
    <inkml:brush xml:id="br0">
      <inkml:brushProperty name="width" value="0.1" units="cm"/>
      <inkml:brushProperty name="height" value="0.1" units="cm"/>
      <inkml:brushProperty name="color" value="#FFC114"/>
    </inkml:brush>
  </inkml:definitions>
  <inkml:trace contextRef="#ctx0" brushRef="#br0">0 337 24575,'4'-1'0,"0"-1"0,0 1 0,0-1 0,-1 0 0,1 0 0,-1 0 0,1-1 0,-1 1 0,6-6 0,8-6 0,29-23 0,-37 29 0,0 0 0,1 1 0,18-12 0,-12 9 0,0-2 0,0 0 0,-1 0 0,21-23 0,0 0 0,2-4 0,-26 26 0,-1 1 0,2 0 0,15-11 0,-28 23 0,1 0 0,-1-1 0,1 1 0,-1-1 0,1 1 0,0 0 0,-1 0 0,1-1 0,0 1 0,-1 0 0,1 0 0,0 0 0,-1 0 0,1-1 0,0 1 0,-1 0 0,1 0 0,0 0 0,-1 1 0,1-1 0,0 0 0,-1 0 0,1 0 0,0 0 0,-1 1 0,1-1 0,0 0 0,-1 1 0,1-1 0,-1 0 0,1 1 0,-1-1 0,1 1 0,-1-1 0,1 1 0,-1-1 0,1 1 0,-1-1 0,1 1 0,-1 0 0,0-1 0,1 1 0,-1-1 0,0 1 0,0 0 0,0-1 0,1 1 0,-1 0 0,8 44 0,-5-29 0,12 70 0,-12-64 0,0 0 0,2 0 0,1 0 0,13 34 0,-14-41 0,0 0 0,-1 0 0,-1 0 0,0 1 0,0 26 0,7 34 0,15 74 0,-21-132-273,-1 0 0,-1 0 0,-1 1 0,-1 20 0</inkml:trace>
</inkml:ink>
</file>

<file path=ppt/ink/ink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48:30.373"/>
    </inkml:context>
    <inkml:brush xml:id="br0">
      <inkml:brushProperty name="width" value="0.1" units="cm"/>
      <inkml:brushProperty name="height" value="0.1" units="cm"/>
      <inkml:brushProperty name="color" value="#FFC114"/>
    </inkml:brush>
  </inkml:definitions>
  <inkml:trace contextRef="#ctx0" brushRef="#br0">27 0 24575,'-1'1'0,"0"-1"0,-1 1 0,1-1 0,0 1 0,0-1 0,0 1 0,0 0 0,0-1 0,0 1 0,0 0 0,1 0 0,-1 0 0,0-1 0,0 1 0,1 0 0,-1 0 0,0 0 0,1 1 0,-1-1 0,1 0 0,-1 0 0,1 0 0,0 0 0,-1 0 0,1 0 0,0 1 0,0 1 0,-5 38 0,5-36 0,-2 157 0,3-95 0,-1-66 0,0 0 0,0 0 0,-1-1 0,1 1 0,0 0 0,0 0 0,0 0 0,0-1 0,0 1 0,0 0 0,1 0 0,-1 0 0,0-1 0,0 1 0,0 0 0,1 0 0,-1-1 0,0 1 0,1 0 0,-1-1 0,1 1 0,-1 0 0,1-1 0,-1 1 0,1 0 0,0-1 0,-1 1 0,1-1 0,-1 1 0,1-1 0,0 0 0,0 1 0,-1-1 0,1 0 0,0 1 0,1-1 0,0 0 0,1-1 0,-1 1 0,1-1 0,-1 0 0,0 0 0,1 0 0,-1 0 0,0 0 0,0-1 0,0 1 0,4-4 0,5-4 0,0-1 0,-1 0 0,14-19 0,-17 19 0,1 1 0,0 0 0,1 0 0,0 1 0,0 0 0,0 0 0,1 1 0,15-8 0,-24 14 0,0 1 0,1 0 0,-1 0 0,0 0 0,0 0 0,0 0 0,1 0 0,-1 0 0,0 0 0,0 0 0,0 0 0,1 1 0,-1-1 0,0 0 0,0 1 0,0-1 0,0 1 0,0 0 0,0-1 0,0 1 0,0 0 0,0 0 0,0-1 0,0 1 0,-1 0 0,1 0 0,0 0 0,0 0 0,-1 0 0,1 0 0,0 2 0,24 42 0,-19-33 0,2 6-195,-1 1 0,0 0 0,-1 0 0,-2 0 0,1 1 0,1 25 0,-5-23-6631</inkml:trace>
</inkml:ink>
</file>

<file path=ppt/ink/ink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48:32.457"/>
    </inkml:context>
    <inkml:brush xml:id="br0">
      <inkml:brushProperty name="width" value="0.1" units="cm"/>
      <inkml:brushProperty name="height" value="0.1" units="cm"/>
      <inkml:brushProperty name="color" value="#FFC114"/>
    </inkml:brush>
  </inkml:definitions>
  <inkml:trace contextRef="#ctx0" brushRef="#br0">1 611 24575,'7'-2'0,"-1"0"0,0 0 0,1 0 0,-1-1 0,0 0 0,10-6 0,5-2 0,200-65 0,-204 70 0,1 1 0,-1 0 0,27-3 0,2-1 0,-46 9 0,26-5 0,1-1 0,-1-2 0,-1 0 0,0-2 0,33-17 0,-42 19 0,0 1 0,0 1 0,1 0 0,25-4 0,22-8 0,29-9 0,-61 19 0,-1-2 0,39-16 0,-37 13 0,0 2 0,70-14 0,-51 13 0,100-37 0,-88 31 0,1 4 0,123-12 0,-127 22 0,-33 3 0,0-1 0,41-9 0,106-14 0,-86 2 0,-35 8 0,75-9 0,-112 22 0,-1 0 0,0 2 0,1 0 0,-1 1 0,0 0 0,0 2 0,0 0 0,0 0 0,19 8 0,28 23 0,-13-5 0,-31-21 0,1-1 0,28 6 0,36 14 0,-66-18 0,-6-4 0,-1 1 0,1-1 0,0-1 0,1 0 0,-1-1 0,1 0 0,17 1 0,-7-3 0,0 1 0,-1 1 0,0 2 0,1 0 0,-1 1 0,-1 1 0,0 1 0,0 1 0,0 1 0,-1 0 0,23 17 0,-25-13 0,-14-11 0,1 0 0,-1 0 0,-1 0 0,1 0 0,0 1 0,-1 0 0,0-1 0,0 1 0,0 0 0,0 1 0,0-1 0,-1 0 0,0 1 0,0-1 0,2 9 0,9 24-1365,-8-21-5461</inkml:trace>
</inkml:ink>
</file>

<file path=ppt/ink/ink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48:33.280"/>
    </inkml:context>
    <inkml:brush xml:id="br0">
      <inkml:brushProperty name="width" value="0.1" units="cm"/>
      <inkml:brushProperty name="height" value="0.1" units="cm"/>
      <inkml:brushProperty name="color" value="#FFC114"/>
    </inkml:brush>
  </inkml:definitions>
  <inkml:trace contextRef="#ctx0" brushRef="#br0">0 207 24575,'1'-1'0,"-1"-1"0,1 0 0,-1 0 0,1 0 0,0 0 0,0 0 0,-1 1 0,1-1 0,1 0 0,-1 1 0,0-1 0,0 0 0,0 1 0,1 0 0,-1-1 0,4-1 0,33-24 0,-17 14 0,-2 0 0,-1 1 0,40-18 0,-41 22 0,0-1 0,-1 0 0,0 0 0,-1-2 0,15-13 0,-29 23 0,-1 1 0,1-1 0,0 0 0,0 0 0,-1 0 0,1 0 0,0 1 0,0-1 0,0 0 0,0 1 0,0-1 0,0 1 0,0-1 0,0 1 0,0-1 0,0 1 0,0 0 0,1 0 0,-1-1 0,0 1 0,0 0 0,0 0 0,0 0 0,0 0 0,1 0 0,-1 1 0,1-1 0,0 1 0,-1 1 0,0-1 0,0 0 0,0 0 0,0 1 0,0-1 0,0 1 0,0-1 0,-1 1 0,1-1 0,0 1 0,-1-1 0,1 1 0,-1 0 0,0-1 0,1 3 0,1 15 0,-1-1 0,-2 32 0,0-36 0,-1 141-1365,2-134-5461</inkml:trace>
</inkml:ink>
</file>

<file path=ppt/ink/ink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48:34.696"/>
    </inkml:context>
    <inkml:brush xml:id="br0">
      <inkml:brushProperty name="width" value="0.1" units="cm"/>
      <inkml:brushProperty name="height" value="0.1" units="cm"/>
      <inkml:brushProperty name="color" value="#FFC114"/>
    </inkml:brush>
  </inkml:definitions>
  <inkml:trace contextRef="#ctx0" brushRef="#br0">1 1 24575,'0'479'0,"-1"-476"0,1 1 0,0-1 0,0 0 0,1 0 0,-1 0 0,0 0 0,1 0 0,0 0 0,0 0 0,0 0 0,0 0 0,0 0 0,0-1 0,1 1 0,0 0 0,-1-1 0,1 1 0,0-1 0,0 1 0,0-1 0,3 2 0,0-1 0,0-1 0,0 0 0,0 0 0,1 0 0,-1-1 0,0 0 0,1 0 0,-1 0 0,1-1 0,-1 1 0,9-2 0,3 2 0,1-1 0,-1-1 0,1 0 0,-1-1 0,1-1 0,-1-1 0,0-1 0,-1 0 0,1-1 0,19-10 0,12-8 0,62-24 0,-86 39 0,43-29 0,-54 29 0,0 1 0,0 1 0,27-11 0,-20 11 0,-10 3 0,-1 1 0,2 0 0,-1 0 0,0 1 0,14-1 0,-21 3 0,0 0 0,0 0 0,0 0 0,0 1 0,0-1 0,-1 1 0,1 0 0,0 0 0,0 0 0,-1 0 0,1 0 0,0 1 0,-1-1 0,1 1 0,-1 0 0,0-1 0,0 1 0,0 0 0,1 0 0,-2 1 0,1-1 0,0 0 0,0 1 0,1 2 0,8 18 0,-1 0 0,0 1 0,-2 0 0,-1 1 0,4 25 0,7 20 0,-8-21-1365,-6-28-5461</inkml:trace>
</inkml:ink>
</file>

<file path=ppt/ink/ink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50:00.536"/>
    </inkml:context>
    <inkml:brush xml:id="br0">
      <inkml:brushProperty name="width" value="0.1" units="cm"/>
      <inkml:brushProperty name="height" value="0.1" units="cm"/>
      <inkml:brushProperty name="color" value="#FFC114"/>
    </inkml:brush>
  </inkml:definitions>
  <inkml:trace contextRef="#ctx0" brushRef="#br0">2 1658 24575,'0'-48'0,"-1"11"0,1 0 0,2 1 0,13-69 0,-8 63 0,-2-1 0,-2 1 0,-2-1 0,-4-54 0,0-4 0,4 70 0,2 0 0,8-39 0,-7 46 0,3-36 0,-3 0 0,-7-99 0,0 41 0,4-334-1365,-1 431-5461</inkml:trace>
</inkml:ink>
</file>

<file path=ppt/ink/ink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50:02.454"/>
    </inkml:context>
    <inkml:brush xml:id="br0">
      <inkml:brushProperty name="width" value="0.1" units="cm"/>
      <inkml:brushProperty name="height" value="0.1" units="cm"/>
      <inkml:brushProperty name="color" value="#FFC114"/>
    </inkml:brush>
  </inkml:definitions>
  <inkml:trace contextRef="#ctx0" brushRef="#br0">0 251 24575,'5'-1'0,"-1"0"0,1 0 0,-1-1 0,0 0 0,0 0 0,0 0 0,0 0 0,6-5 0,11-5 0,5-1 0,-8 6 0,-1-1 0,0 0 0,0-2 0,-1 0 0,0-1 0,19-17 0,97-90 0,-132 117 0,1 1 0,-1 0 0,0-1 0,0 1 0,1 0 0,-1-1 0,0 1 0,1 0 0,-1-1 0,0 1 0,1 0 0,-1 0 0,1-1 0,-1 1 0,0 0 0,1 0 0,-1 0 0,1 0 0,-1 0 0,0-1 0,1 1 0,-1 0 0,1 0 0,-1 0 0,1 0 0,-1 0 0,1 0 0,-1 0 0,0 1 0,1-1 0,-1 0 0,1 0 0,0 0 0,5 16 0,-5 30 0,-1-40 0,-2 303-1365,2-287-5461</inkml:trace>
</inkml:ink>
</file>

<file path=ppt/ink/ink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8:50:03.998"/>
    </inkml:context>
    <inkml:brush xml:id="br0">
      <inkml:brushProperty name="width" value="0.1" units="cm"/>
      <inkml:brushProperty name="height" value="0.1" units="cm"/>
      <inkml:brushProperty name="color" value="#FFC114"/>
    </inkml:brush>
  </inkml:definitions>
  <inkml:trace contextRef="#ctx0" brushRef="#br0">2 1 24575,'-2'72'0,"4"83"0,-2-154 0,0 1 0,0-1 0,0 1 0,0-1 0,1 1 0,-1 0 0,0-1 0,1 1 0,-1-1 0,1 1 0,-1-1 0,1 0 0,0 1 0,-1-1 0,1 1 0,0-1 0,0 0 0,0 0 0,0 0 0,0 1 0,0-1 0,1 0 0,-1 0 0,0 0 0,3 1 0,-2-2 0,0 0 0,0 0 0,0 0 0,0 0 0,0 0 0,0-1 0,0 1 0,0 0 0,0-1 0,0 0 0,0 1 0,0-1 0,0 0 0,0 0 0,0 0 0,2-2 0,11-8 0,-1 0 0,-1-1 0,18-19 0,-27 26 0,9-6 0,0 0 0,1 1 0,0 0 0,0 1 0,1 1 0,1 0 0,-1 1 0,1 1 0,0 0 0,1 1 0,23-4 0,-37 8-4,0 1 0,-1-1 0,1 1 0,0 0 0,0 0 0,0 0 0,-1 0 0,1 0 0,0 1 0,0-1 0,-1 1 0,1 0 0,0 0 0,-1 0 0,1 0 0,0 0 0,-1 0 0,0 1 0,4 2 0,-2 0 24,0 0 0,0 0 0,0 0 0,-1 0 0,0 1 0,0-1 0,0 1 0,-1 0 0,4 8 0,0 5-268,-1 0 1,-1 0-1,0 0 1,-2 0-1,2 22 1,-4-19-6579</inkml:trace>
</inkml:ink>
</file>

<file path=ppt/ink/ink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30T09:37:00.686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1959 29,'0'-1,"-1"0,1 0,-1 0,1 0,-1 0,1 0,-1 0,0 0,1 0,-1 0,0 0,0 0,0 0,0 1,0-1,0 0,0 1,0-1,0 1,0-1,0 1,0-1,0 1,-1 0,1 0,0-1,-2 1,-39-5,38 5,-422-3,219 6,-1025-3,1211 0</inkml:trace>
</inkml:ink>
</file>

<file path=ppt/ink/ink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30T09:37:01.822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2010 29,'-131'2,"-142"-5,205-10,50 9,0 1,-29-3,-651 4,339 5,-17-3,354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30T06:59:58.470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32,'54'-19,"-22"15,0 1,37 2,-41 1,1 0,-1-2,39-8,-42 5,0 2,0 1,25 1,-22 0,0 0,33-6,15-4,2 4,-1 4,82 6,-22-1,1624-2,-1743 1,1 1,34 8,-33-5,0-1,25 1,570-4,-299-3,-290 0,0 0,0-2,45-14,-45 11,-1 1,1 1,49-3,-51 8,0-1,0-1,41-9,-23 4,2 2,-1 2,0 2,51 4,7 0,1006-3,-1087 1,1 2,39 9,-11-2,52 13,-71-15,0-2,0 0,55 2,2909-9,-2976 0,1-1,34-8,-33 5,0 2,25-2,654 3,-341 4,-236-4,133 5,-128 22,-93-21,0 1,35 11,-40-9,0 0,1-2,45 2,151-9,-204 2</inkml:trace>
</inkml:ink>
</file>

<file path=ppt/ink/ink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30T09:37:07.272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1783 202,'-15'-1,"0"0,0-1,0-1,0 0,1-1,-23-10,2 2,-36-9,-125-20,178 38,0-2,-32-13,-16-4,-83-6,81 18,42 5,0 1,-31-1,-798 6,834-1</inkml:trace>
</inkml:ink>
</file>

<file path=ppt/ink/ink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30T09:37:10.724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78,'1007'0,"-988"-1,-1-1,35-8,-33 5,0 2,26-2,-28 4,12 1,0-2,53-10,-69 9,26-7,0 2,1 1,64-1,-83 8</inkml:trace>
</inkml:ink>
</file>

<file path=ppt/ink/ink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30T09:37:12.487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1481 1,'-1459'0,"1437"0</inkml:trace>
</inkml:ink>
</file>

<file path=ppt/ink/ink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9:56:34.870"/>
    </inkml:context>
    <inkml:brush xml:id="br0">
      <inkml:brushProperty name="width" value="0.1" units="cm"/>
      <inkml:brushProperty name="height" value="0.1" units="cm"/>
      <inkml:brushProperty name="color" value="#FFC114"/>
    </inkml:brush>
  </inkml:definitions>
  <inkml:trace contextRef="#ctx0" brushRef="#br0">0 586 24575,'2'-5'0,"0"1"0,0-1 0,0 1 0,0 0 0,1 0 0,0 0 0,0 0 0,0 1 0,0-1 0,0 1 0,1 0 0,0 0 0,5-4 0,4-5 0,41-31 0,-43 36 0,0-1 0,-1-1 0,0 0 0,0 0 0,-1-1 0,11-13 0,-10 9 0,1 1 0,0 0 0,19-17 0,28-31 0,-53 54 0,2 0 0,-1 1 0,1-1 0,12-7 0,-12 8 0,0 0 0,0 0 0,0 0 0,11-14 0,-11 11 0,0 1 0,1 0 0,0 0 0,19-13 0,-19 15 0,1 0 0,-1-1 0,-1 0 0,1-1 0,11-14 0,-8 7 0,0 1 0,25-24 0,-36 38 0,1-1 0,-1 1 0,0 0 0,1-1 0,-1 1 0,0 0 0,1-1 0,-1 1 0,1 0 0,-1-1 0,1 1 0,-1 0 0,0 0 0,1 0 0,-1-1 0,1 1 0,-1 0 0,1 0 0,-1 0 0,1 0 0,-1 0 0,1 0 0,-1 0 0,1 0 0,-1 0 0,1 0 0,-1 0 0,1 0 0,-1 0 0,1 0 0,-1 1 0,1-1 0,-1 0 0,1 0 0,0 1 0,7 19 0,-4 31 0,-4-48 0,-1 25 0,-2 1 0,-9 47 0,6-45 0,-3 64 0,8-67 0,-2-1 0,-5 28 0,-6 16-2,8-34-680,-20 60 1,20-81-6145</inkml:trace>
</inkml:ink>
</file>

<file path=ppt/ink/ink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9:56:36.323"/>
    </inkml:context>
    <inkml:brush xml:id="br0">
      <inkml:brushProperty name="width" value="0.1" units="cm"/>
      <inkml:brushProperty name="height" value="0.1" units="cm"/>
      <inkml:brushProperty name="color" value="#FFC114"/>
    </inkml:brush>
  </inkml:definitions>
  <inkml:trace contextRef="#ctx0" brushRef="#br0">0 73 24575,'2'1'0,"0"-1"0,-1 1 0,1 0 0,-1 0 0,1 0 0,-1 0 0,1 0 0,-1 1 0,0-1 0,0 0 0,1 0 0,-1 1 0,0-1 0,0 1 0,0-1 0,0 1 0,0 2 0,15 30 0,-10-9 0,-2 1 0,0 0 0,-2 0 0,0 0 0,-2 1 0,-4 34 0,1 18 0,3 212 0,0-291 0,0 0 0,0 0 0,0 0 0,0 0 0,0 0 0,0 0 0,0 0 0,0 0 0,0 0 0,0 0 0,0 0 0,1 0 0,-1 0 0,0 0 0,0 0 0,0 0 0,0 0 0,0 0 0,0 0 0,0 0 0,0 0 0,0 0 0,0 0 0,0 0 0,1 0 0,-1 0 0,0 0 0,0 0 0,0 0 0,0 0 0,0 0 0,0 1 0,0-1 0,0 0 0,0 0 0,0 0 0,0 0 0,0 0 0,0 0 0,0 0 0,0 0 0,0 0 0,0 0 0,0 0 0,0 0 0,0 0 0,0 1 0,0-1 0,0 0 0,0 0 0,0 0 0,0 0 0,7-12 0,4-16 0,-1 0 0,1 1 0,2 0 0,25-40 0,12-23 0,-44 80 0,1 0 0,0 0 0,0 1 0,16-16 0,4-4 0,140-144 0,-146 153 0,105-83 0,-118 97 0,0 0 0,1 1 0,0 0 0,0 0 0,0 1 0,0 0 0,1 0 0,0 1 0,15-3 0,-19 5 0,0 0 0,0 1 0,-1-1 0,1 1 0,0 0 0,0 0 0,0 1 0,0 0 0,-1 0 0,1 0 0,0 1 0,-1 0 0,1 0 0,-1 0 0,0 1 0,0-1 0,9 7 0,-9-3 0,0-1 0,-1 1 0,1 0 0,-1 0 0,0 1 0,-1-1 0,1 1 0,-2 0 0,1 0 0,-1 0 0,1 0 0,0 8 0,0 1 0,0-1 0,-2 1 0,1 0 0,-3 26 0,-2-15 0,-3 0 0,-14 46 0,-1 4 0,-29 96 0,48-167 0,-6 32 0,1 0 0,2 0 0,0 44 0,6-32-1365,-1-28-5461</inkml:trace>
</inkml:ink>
</file>

<file path=ppt/ink/ink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9:56:38.578"/>
    </inkml:context>
    <inkml:brush xml:id="br0">
      <inkml:brushProperty name="width" value="0.1" units="cm"/>
      <inkml:brushProperty name="height" value="0.1" units="cm"/>
      <inkml:brushProperty name="color" value="#FFC114"/>
    </inkml:brush>
  </inkml:definitions>
  <inkml:trace contextRef="#ctx0" brushRef="#br0">2370 629 24575,'0'-18'0,"-1"-1"0,0 1 0,-1 0 0,-6-22 0,5 31 0,0 1 0,0-1 0,-1 0 0,0 1 0,-1 0 0,1 0 0,-2 0 0,1 1 0,-1-1 0,-8-6 0,-17-25 0,25 31 0,0 1 0,0-1 0,0 1 0,-1 0 0,-14-11 0,-17-9 0,17 11 0,0 1 0,-1 1 0,0 2 0,-1 0 0,-35-13 0,-24-10 0,64 26 0,0 1 0,0 0 0,-1 1 0,-25-4 0,-22-3 0,-96-31 0,119 32 0,-1 2 0,0 3 0,-47-4 0,23 1 0,42 6 0,-1 1 0,-29 0 0,-573 5 0,610 0 0,1 0 0,-1 1 0,1 2 0,0-1 0,0 2 0,0 0 0,-19 10 0,-124 75 0,82-34 0,41-27 0,28-19 0,1 0 0,0 1 0,1 0 0,0 0 0,0 1 0,2 0 0,-1 0 0,1 1 0,-5 16 0,0-2 0,6-16 0,1 1 0,1 0 0,0 0 0,1 1 0,0-1 0,-1 19 0,6 81 0,0-41 0,-3-64 0,-1 25 0,2-1 0,1 1 0,11 52 0,-8-63 0,0 0 0,2-1 0,0 1 0,1-1 0,1-1 0,1 0 0,1 0 0,0-1 0,2 0 0,0-1 0,30 30 0,-21-24 0,2-2 0,0-1 0,1-1 0,1-1 0,1-1 0,30 14 0,-11-9 0,-6-3 0,1-1 0,0-2 0,55 14 0,-18-10 0,-47-11 0,2-1 0,-1-2 0,1-1 0,41 1 0,112 7 0,5-1 0,312-13 0,-489 0 0,1 0 0,-1-2 0,0 0 0,0 0 0,-1-1 0,1-1 0,-1 0 0,0-1 0,0-1 0,19-13 0,17-6 0,13-1 0,-41 19 0,0-1 0,23-15 0,11-8 0,-29 18 0,-1-1 0,30-24 0,-38 26 0,1 0 0,33-16 0,-34 20 0,0 0 0,-1-1 0,0-1 0,16-14 0,32-28 0,9-7 0,-53 40 0,-1-1 0,-1 0 0,-1-1 0,22-39 0,-32 47 0,0-1 0,-1 0 0,0-1 0,-2 1 0,1-1 0,-2 0 0,0 0 0,-1 0 0,0-21 0,-1-11 0,1 12 0,-7-75 0,4 102 0,-1-1 0,0 0 0,-1 0 0,1 1 0,-2-1 0,1 1 0,-2 0 0,1 0 0,-1 0 0,0 1 0,-1 0 0,-8-10 0,6 11 0,-1-1 0,0 1 0,-19-11 0,-19-15 0,29 19 0,0 0 0,-1 2 0,-24-12 0,1 0 0,18 12 0,0 2 0,0 0 0,-1 1 0,-1 2 0,1 1 0,-1 0 0,-34-1 0,-264 3 54,173 6-1473,129-2-5407</inkml:trace>
</inkml:ink>
</file>

<file path=ppt/ink/ink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30T09:54:19.612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78,'1937'0,"-1917"-1,-1-1,33-8,33-2,647 10,-357 4,581-2,-938-1,1-1,34-8,-33 6,-1 0,27-1,653 3,-341 5,296-3,-635-1,0-1,33-8,33-3,647 11,-357 5,682-3,-1012 4,-29 2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30T07:01:26.893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32,'19'0,"16"1,-1-2,1-1,55-11,-47 6,0 2,0 2,1 1,50 6,7-1,1206-3,-1286 1,0 2,0 0,0 2,-1 0,0 1,30 14,12 3,-36-18,0 0,1-2,-1 0,0-2,1-1,29-4,22 1,223 3,-279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30T07:01:29.102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01,'5'0,"-1"-2,1 1,-1 0,1-1,-1 0,1 0,-1 0,0-1,6-3,23-12,-7 12,1 1,-1 2,1 0,0 2,0 1,30 4,22-1,-29-4,0-3,56-10,-60 6,0-1,-1 2,63 0,1302 8,-1385 0,-1 2,1 1,0 2,-1 0,30 12,-29-10,-1 0,2-1,-1-2,48 5,205-11,-257 1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30T07:02:11.26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24575,'17'1'0,"1"1"0,-1 0 0,-1 1 0,1 1 0,0 1 0,-1 1 0,0 0 0,0 1 0,18 10 0,-24-12 0,26 11 0,-26-13 0,0 1 0,-1 1 0,1-1 0,-1 2 0,0-1 0,14 13 0,14 13 0,-31-27 0,0 0 0,0 1 0,0-1 0,-1 1 0,1 0 0,-1 1 0,-1-1 0,1 1 0,-1 0 0,0 0 0,0 0 0,-1 1 0,0-1 0,0 1 0,0 0 0,-1 0 0,0 0 0,0 0 0,0 10 0,3 12 0,1-1 0,2 0 0,0 0 0,2 0 0,15 29 0,-20-45 0,-2-7 0,0 0 0,-1 0 0,2-1 0,-1 1 0,0-1 0,1 1 0,0-1 0,0 0 0,0 0 0,1-1 0,-1 0 0,1 1 0,0-1 0,7 3 0,8 3 0,1-1 0,32 7 0,-38-11 0,0 0 0,0 1 0,0 0 0,-1 1 0,18 11 0,-9-4 0,0-2 0,1 0 0,0-2 0,1 0 0,0-2 0,0-1 0,0-1 0,1-1 0,25 1 0,-34-5 0,-39-4 0,-5-2 0,-5-1 0,0 2 0,0 0 0,0 3 0,-1 0 0,1 2 0,-45 6 0,72-6 0,0 1 0,0 0 0,0 0 0,0 0 0,0 0 0,0 1 0,1 0 0,-1 0 0,0 0 0,1 1 0,0 0 0,-1 0 0,1 0 0,0 0 0,1 0 0,-1 1 0,1-1 0,-1 1 0,1 0 0,0 0 0,0 1 0,1-1 0,-1 0 0,-2 9 0,-1 4 0,1 1 0,1 1 0,1-1 0,0 1 0,1 22 0,0-24 0,2-8 0,-2 0 0,1 0 0,-1 1 0,-1-2 0,1 1 0,-1 0 0,-1 0 0,0-1 0,0 0 0,-1 0 0,0 0 0,0 0 0,-1-1 0,0 0 0,0 0 0,0 0 0,-1-1 0,0 0 0,-1 0 0,1-1 0,-1 0 0,-13 7 0,-17 19 99,34-26-282,0-1 0,0 0 0,-1 0 0,1-1 0,-1 1 0,1-1 0,-11 5 0,-1-2-6643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183" cy="502596"/>
          </a:xfrm>
          <a:prstGeom prst="rect">
            <a:avLst/>
          </a:prstGeom>
        </p:spPr>
        <p:txBody>
          <a:bodyPr vert="horz" lIns="96588" tIns="48294" rIns="96588" bIns="4829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00799" y="0"/>
            <a:ext cx="2984183" cy="502596"/>
          </a:xfrm>
          <a:prstGeom prst="rect">
            <a:avLst/>
          </a:prstGeom>
        </p:spPr>
        <p:txBody>
          <a:bodyPr vert="horz" lIns="96588" tIns="48294" rIns="96588" bIns="48294" rtlCol="0"/>
          <a:lstStyle>
            <a:lvl1pPr algn="r">
              <a:defRPr sz="1300"/>
            </a:lvl1pPr>
          </a:lstStyle>
          <a:p>
            <a:fld id="{9AB99A3D-87D6-4B12-B717-FF194AD5DB59}" type="datetimeFigureOut">
              <a:rPr lang="de-DE" smtClean="0"/>
              <a:t>30.09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7100" cy="3379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588" tIns="48294" rIns="96588" bIns="4829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8658" y="4820741"/>
            <a:ext cx="5509260" cy="3944243"/>
          </a:xfrm>
          <a:prstGeom prst="rect">
            <a:avLst/>
          </a:prstGeom>
        </p:spPr>
        <p:txBody>
          <a:bodyPr vert="horz" lIns="96588" tIns="48294" rIns="96588" bIns="48294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514531"/>
            <a:ext cx="2984183" cy="502595"/>
          </a:xfrm>
          <a:prstGeom prst="rect">
            <a:avLst/>
          </a:prstGeom>
        </p:spPr>
        <p:txBody>
          <a:bodyPr vert="horz" lIns="96588" tIns="48294" rIns="96588" bIns="4829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00799" y="9514531"/>
            <a:ext cx="2984183" cy="502595"/>
          </a:xfrm>
          <a:prstGeom prst="rect">
            <a:avLst/>
          </a:prstGeom>
        </p:spPr>
        <p:txBody>
          <a:bodyPr vert="horz" lIns="96588" tIns="48294" rIns="96588" bIns="48294" rtlCol="0" anchor="b"/>
          <a:lstStyle>
            <a:lvl1pPr algn="r">
              <a:defRPr sz="1300"/>
            </a:lvl1pPr>
          </a:lstStyle>
          <a:p>
            <a:fld id="{0194D917-C03F-4EAB-872E-54D4523C29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2277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EA936F-6ED7-835F-814F-EB9E15FE63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E99670E-6683-95B7-6D8F-3BB3A0ABCE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05C56DF-49F3-0E33-20F0-C7E611726B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93165-6CFE-4385-98C5-DAE0FD49D1D3}" type="datetimeFigureOut">
              <a:rPr lang="de-DE" smtClean="0"/>
              <a:t>30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D419EB-D2ED-3BEE-3893-261A67D305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99E779-2D52-CE88-2C55-06BAF028CE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0456C-3CD4-4229-AB36-649DAC4331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8957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8620D4-4B3E-FF5B-7788-5D6FCFCDB9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AAF015B-D15F-4A13-4918-2EC8103FC5E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E7E02DE-21B3-7F20-9AC5-A3AF05D54B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93165-6CFE-4385-98C5-DAE0FD49D1D3}" type="datetimeFigureOut">
              <a:rPr lang="de-DE" smtClean="0"/>
              <a:t>30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5E2B33F-C795-234E-A226-32976683D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685DBFC-F374-DE90-73F6-09CB344418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0456C-3CD4-4229-AB36-649DAC4331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7409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E9914F3-C7BC-9024-8E45-1931C35C76D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ED629D3-CA0E-64FB-4B16-6B55F694D5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A18B9C6-54C1-419B-4C68-9DD000E7B8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93165-6CFE-4385-98C5-DAE0FD49D1D3}" type="datetimeFigureOut">
              <a:rPr lang="de-DE" smtClean="0"/>
              <a:t>30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A1407D1-C83E-274D-3FE4-322034655D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65AB730-31AA-66EF-BCDF-59C080AE78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0456C-3CD4-4229-AB36-649DAC4331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70347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/>
          <p:cNvSpPr/>
          <p:nvPr userDrawn="1"/>
        </p:nvSpPr>
        <p:spPr>
          <a:xfrm>
            <a:off x="0" y="6669089"/>
            <a:ext cx="12192000" cy="180975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1" dirty="0"/>
          </a:p>
        </p:txBody>
      </p:sp>
      <p:graphicFrame>
        <p:nvGraphicFramePr>
          <p:cNvPr id="4" name="Objek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11" name="Objek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CB40CA-ADB5-4D8F-A4BB-DA8A2EFC9B9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33" name="Rechteck 32"/>
          <p:cNvSpPr/>
          <p:nvPr userDrawn="1"/>
        </p:nvSpPr>
        <p:spPr>
          <a:xfrm>
            <a:off x="1" y="0"/>
            <a:ext cx="12192001" cy="698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1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7884" y="197418"/>
            <a:ext cx="2754950" cy="279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0964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C48C45-7C87-2023-2E06-8319AF4129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83BEF60-4004-BFDB-2161-F9B7EDE988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4AA87D7-3E8C-B523-5D70-9028ABC1C0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93165-6CFE-4385-98C5-DAE0FD49D1D3}" type="datetimeFigureOut">
              <a:rPr lang="de-DE" smtClean="0"/>
              <a:t>30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0B9B28D-1F0A-9510-468E-9492E733CB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EA69C91-4C98-C33A-39AC-112948D347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0456C-3CD4-4229-AB36-649DAC4331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15247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B971A7-1233-335D-F1C0-447CC2898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E3DDEF1-CECE-4266-326D-49AE1A48D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DDD7623-62F9-09FF-B1C3-86D594B6C3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93165-6CFE-4385-98C5-DAE0FD49D1D3}" type="datetimeFigureOut">
              <a:rPr lang="de-DE" smtClean="0"/>
              <a:t>30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51AB16-BADD-5516-ABB6-97DF7BAEA9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891B290-354C-F1ED-FAD2-F890D56E0D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0456C-3CD4-4229-AB36-649DAC4331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18327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832B7E-3249-8E61-8D8A-24EF10BA6C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5511D95-2611-29DE-4F18-974EFB7D0D0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F98516A-5503-FD08-BC68-F52865E3FB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12A9C8D-77BD-2553-8E32-69685AD46E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93165-6CFE-4385-98C5-DAE0FD49D1D3}" type="datetimeFigureOut">
              <a:rPr lang="de-DE" smtClean="0"/>
              <a:t>30.09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6B60E0F-8607-7C95-B23B-9E3BA85EA8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387E41C-98FB-E091-8684-ED52743A58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0456C-3CD4-4229-AB36-649DAC4331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95983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640E8B-8E06-3DD7-2779-6DA77E2B8A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B340BF3-D06B-6465-C510-2AC9A6CCFA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BAAA45D-E582-51B3-85B5-14D6A36B64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82D2BF4-25F9-88EB-DA5A-22A2BCACCE8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6B0892-34A6-0EE4-756D-20F14ECEBA4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D717E01-BAA7-7EB9-1DBA-4707022271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93165-6CFE-4385-98C5-DAE0FD49D1D3}" type="datetimeFigureOut">
              <a:rPr lang="de-DE" smtClean="0"/>
              <a:t>30.09.2025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54442AE-933D-FF97-B47A-CD18C71CD5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0222B7C-D127-4535-D538-A1197555A7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0456C-3CD4-4229-AB36-649DAC4331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88251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F106AE-6092-2A92-F3C3-8D9763A36C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2D6D01-29DC-3789-0C5D-CCC7F2C23B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93165-6CFE-4385-98C5-DAE0FD49D1D3}" type="datetimeFigureOut">
              <a:rPr lang="de-DE" smtClean="0"/>
              <a:t>30.09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A50DD0-D01C-EC08-6988-F6F79729F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3337D5-E1C3-CE2E-C18E-0065402C16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0456C-3CD4-4229-AB36-649DAC4331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83928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45D297-D213-0ABB-6C87-B018FFDCF0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93165-6CFE-4385-98C5-DAE0FD49D1D3}" type="datetimeFigureOut">
              <a:rPr lang="de-DE" smtClean="0"/>
              <a:t>30.09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E56691B-F6E2-FB1C-FF6E-DA77EB750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381927-15A2-9CBE-A7B9-818D88C816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0456C-3CD4-4229-AB36-649DAC4331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24701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1DC73B-1CA4-AB74-E8B1-33442F8E63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E059F94-6FC8-A6F5-C541-A291DC0F4A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51AD7ED-B9D1-95C8-D05A-EDF82CC815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6D6F6EE-BE25-DF77-88A0-5AE8F1757B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93165-6CFE-4385-98C5-DAE0FD49D1D3}" type="datetimeFigureOut">
              <a:rPr lang="de-DE" smtClean="0"/>
              <a:t>30.09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173525A-729B-E039-0907-210879AC1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BAB6280-0687-456F-955C-16A63D82F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0456C-3CD4-4229-AB36-649DAC4331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41733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F0A44D-12F9-51EE-07EB-E2DB2C6461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979E8C32-6E47-84CE-1108-C63CF0701B4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60B2014-05E1-582B-AA39-12909BD2A3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953D368-2CE3-7F6C-6174-7F47F9CAA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93165-6CFE-4385-98C5-DAE0FD49D1D3}" type="datetimeFigureOut">
              <a:rPr lang="de-DE" smtClean="0"/>
              <a:t>30.09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B185B1B-24FA-FCE7-43A8-2A49925DED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DF95404-D35E-BB70-3658-7CF8FCC16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0456C-3CD4-4229-AB36-649DAC4331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602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90BCB5-CF12-2AB8-FAD1-B26BAC6EF4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F900830-133B-1C4B-00D0-03E0280E60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6DD5093-E541-8042-1C39-0F3B40F841E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E93165-6CFE-4385-98C5-DAE0FD49D1D3}" type="datetimeFigureOut">
              <a:rPr lang="de-DE" smtClean="0"/>
              <a:t>30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122416F-0D95-2CCC-23B9-38208E206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9D449AD-EF43-39C5-6882-845A672061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F0456C-3CD4-4229-AB36-649DAC4331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0019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8.png"/><Relationship Id="rId18" Type="http://schemas.openxmlformats.org/officeDocument/2006/relationships/customXml" Target="../ink/ink43.xml"/><Relationship Id="rId26" Type="http://schemas.openxmlformats.org/officeDocument/2006/relationships/customXml" Target="../ink/ink47.xml"/><Relationship Id="rId39" Type="http://schemas.openxmlformats.org/officeDocument/2006/relationships/customXml" Target="../ink/ink54.xml"/><Relationship Id="rId21" Type="http://schemas.openxmlformats.org/officeDocument/2006/relationships/image" Target="../media/image52.png"/><Relationship Id="rId34" Type="http://schemas.openxmlformats.org/officeDocument/2006/relationships/image" Target="../media/image58.png"/><Relationship Id="rId42" Type="http://schemas.openxmlformats.org/officeDocument/2006/relationships/image" Target="../media/image62.png"/><Relationship Id="rId7" Type="http://schemas.openxmlformats.org/officeDocument/2006/relationships/image" Target="../media/image46.png"/><Relationship Id="rId2" Type="http://schemas.openxmlformats.org/officeDocument/2006/relationships/customXml" Target="../ink/ink35.xml"/><Relationship Id="rId16" Type="http://schemas.openxmlformats.org/officeDocument/2006/relationships/customXml" Target="../ink/ink42.xml"/><Relationship Id="rId29" Type="http://schemas.openxmlformats.org/officeDocument/2006/relationships/customXml" Target="../ink/ink49.xml"/><Relationship Id="rId1" Type="http://schemas.openxmlformats.org/officeDocument/2006/relationships/slideLayout" Target="../slideLayouts/slideLayout12.xml"/><Relationship Id="rId6" Type="http://schemas.openxmlformats.org/officeDocument/2006/relationships/customXml" Target="../ink/ink37.xml"/><Relationship Id="rId11" Type="http://schemas.openxmlformats.org/officeDocument/2006/relationships/image" Target="../media/image47.png"/><Relationship Id="rId24" Type="http://schemas.openxmlformats.org/officeDocument/2006/relationships/customXml" Target="../ink/ink46.xml"/><Relationship Id="rId32" Type="http://schemas.openxmlformats.org/officeDocument/2006/relationships/image" Target="../media/image57.png"/><Relationship Id="rId37" Type="http://schemas.openxmlformats.org/officeDocument/2006/relationships/customXml" Target="../ink/ink53.xml"/><Relationship Id="rId40" Type="http://schemas.openxmlformats.org/officeDocument/2006/relationships/image" Target="../media/image61.png"/><Relationship Id="rId45" Type="http://schemas.openxmlformats.org/officeDocument/2006/relationships/customXml" Target="../ink/ink57.xml"/><Relationship Id="rId5" Type="http://schemas.openxmlformats.org/officeDocument/2006/relationships/image" Target="../media/image45.png"/><Relationship Id="rId15" Type="http://schemas.openxmlformats.org/officeDocument/2006/relationships/image" Target="../media/image49.png"/><Relationship Id="rId23" Type="http://schemas.openxmlformats.org/officeDocument/2006/relationships/image" Target="../media/image53.png"/><Relationship Id="rId28" Type="http://schemas.openxmlformats.org/officeDocument/2006/relationships/image" Target="../media/image55.png"/><Relationship Id="rId36" Type="http://schemas.openxmlformats.org/officeDocument/2006/relationships/image" Target="../media/image59.png"/><Relationship Id="rId10" Type="http://schemas.openxmlformats.org/officeDocument/2006/relationships/customXml" Target="../ink/ink39.xml"/><Relationship Id="rId19" Type="http://schemas.openxmlformats.org/officeDocument/2006/relationships/image" Target="../media/image51.png"/><Relationship Id="rId31" Type="http://schemas.openxmlformats.org/officeDocument/2006/relationships/customXml" Target="../ink/ink50.xml"/><Relationship Id="rId44" Type="http://schemas.openxmlformats.org/officeDocument/2006/relationships/image" Target="../media/image63.png"/><Relationship Id="rId4" Type="http://schemas.openxmlformats.org/officeDocument/2006/relationships/customXml" Target="../ink/ink36.xml"/><Relationship Id="rId9" Type="http://schemas.openxmlformats.org/officeDocument/2006/relationships/image" Target="../media/image33.png"/><Relationship Id="rId14" Type="http://schemas.openxmlformats.org/officeDocument/2006/relationships/customXml" Target="../ink/ink41.xml"/><Relationship Id="rId22" Type="http://schemas.openxmlformats.org/officeDocument/2006/relationships/customXml" Target="../ink/ink45.xml"/><Relationship Id="rId27" Type="http://schemas.openxmlformats.org/officeDocument/2006/relationships/customXml" Target="../ink/ink48.xml"/><Relationship Id="rId30" Type="http://schemas.openxmlformats.org/officeDocument/2006/relationships/image" Target="../media/image56.png"/><Relationship Id="rId35" Type="http://schemas.openxmlformats.org/officeDocument/2006/relationships/customXml" Target="../ink/ink52.xml"/><Relationship Id="rId43" Type="http://schemas.openxmlformats.org/officeDocument/2006/relationships/customXml" Target="../ink/ink56.xml"/><Relationship Id="rId8" Type="http://schemas.openxmlformats.org/officeDocument/2006/relationships/customXml" Target="../ink/ink38.xml"/><Relationship Id="rId3" Type="http://schemas.openxmlformats.org/officeDocument/2006/relationships/image" Target="../media/image44.png"/><Relationship Id="rId12" Type="http://schemas.openxmlformats.org/officeDocument/2006/relationships/customXml" Target="../ink/ink40.xml"/><Relationship Id="rId17" Type="http://schemas.openxmlformats.org/officeDocument/2006/relationships/image" Target="../media/image50.png"/><Relationship Id="rId25" Type="http://schemas.openxmlformats.org/officeDocument/2006/relationships/image" Target="../media/image54.png"/><Relationship Id="rId33" Type="http://schemas.openxmlformats.org/officeDocument/2006/relationships/customXml" Target="../ink/ink51.xml"/><Relationship Id="rId38" Type="http://schemas.openxmlformats.org/officeDocument/2006/relationships/image" Target="../media/image60.png"/><Relationship Id="rId46" Type="http://schemas.openxmlformats.org/officeDocument/2006/relationships/image" Target="../media/image64.png"/><Relationship Id="rId20" Type="http://schemas.openxmlformats.org/officeDocument/2006/relationships/customXml" Target="../ink/ink44.xml"/><Relationship Id="rId41" Type="http://schemas.openxmlformats.org/officeDocument/2006/relationships/customXml" Target="../ink/ink5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13" Type="http://schemas.openxmlformats.org/officeDocument/2006/relationships/customXml" Target="../ink/ink63.xml"/><Relationship Id="rId18" Type="http://schemas.openxmlformats.org/officeDocument/2006/relationships/image" Target="../media/image72.png"/><Relationship Id="rId3" Type="http://schemas.openxmlformats.org/officeDocument/2006/relationships/customXml" Target="../ink/ink58.xml"/><Relationship Id="rId7" Type="http://schemas.openxmlformats.org/officeDocument/2006/relationships/customXml" Target="../ink/ink60.xml"/><Relationship Id="rId12" Type="http://schemas.openxmlformats.org/officeDocument/2006/relationships/image" Target="../media/image69.png"/><Relationship Id="rId17" Type="http://schemas.openxmlformats.org/officeDocument/2006/relationships/customXml" Target="../ink/ink65.xml"/><Relationship Id="rId2" Type="http://schemas.openxmlformats.org/officeDocument/2006/relationships/image" Target="../media/image30.png"/><Relationship Id="rId16" Type="http://schemas.openxmlformats.org/officeDocument/2006/relationships/image" Target="../media/image7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6.png"/><Relationship Id="rId11" Type="http://schemas.openxmlformats.org/officeDocument/2006/relationships/customXml" Target="../ink/ink62.xml"/><Relationship Id="rId5" Type="http://schemas.openxmlformats.org/officeDocument/2006/relationships/customXml" Target="../ink/ink59.xml"/><Relationship Id="rId15" Type="http://schemas.openxmlformats.org/officeDocument/2006/relationships/customXml" Target="../ink/ink64.xml"/><Relationship Id="rId10" Type="http://schemas.openxmlformats.org/officeDocument/2006/relationships/image" Target="../media/image68.png"/><Relationship Id="rId4" Type="http://schemas.openxmlformats.org/officeDocument/2006/relationships/image" Target="../media/image65.png"/><Relationship Id="rId9" Type="http://schemas.openxmlformats.org/officeDocument/2006/relationships/customXml" Target="../ink/ink61.xml"/><Relationship Id="rId14" Type="http://schemas.openxmlformats.org/officeDocument/2006/relationships/image" Target="../media/image70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customXml" Target="../ink/ink66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ustomXml" Target="../ink/ink2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customXml" Target="../ink/ink8.xml"/><Relationship Id="rId18" Type="http://schemas.openxmlformats.org/officeDocument/2006/relationships/image" Target="../media/image18.png"/><Relationship Id="rId3" Type="http://schemas.openxmlformats.org/officeDocument/2006/relationships/customXml" Target="../ink/ink3.xml"/><Relationship Id="rId7" Type="http://schemas.openxmlformats.org/officeDocument/2006/relationships/customXml" Target="../ink/ink5.xml"/><Relationship Id="rId12" Type="http://schemas.openxmlformats.org/officeDocument/2006/relationships/image" Target="../media/image15.png"/><Relationship Id="rId17" Type="http://schemas.openxmlformats.org/officeDocument/2006/relationships/customXml" Target="../ink/ink10.xml"/><Relationship Id="rId2" Type="http://schemas.openxmlformats.org/officeDocument/2006/relationships/image" Target="../media/image10.png"/><Relationship Id="rId16" Type="http://schemas.openxmlformats.org/officeDocument/2006/relationships/image" Target="../media/image17.png"/><Relationship Id="rId20" Type="http://schemas.openxmlformats.org/officeDocument/2006/relationships/image" Target="../media/image1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png"/><Relationship Id="rId11" Type="http://schemas.openxmlformats.org/officeDocument/2006/relationships/customXml" Target="../ink/ink7.xml"/><Relationship Id="rId5" Type="http://schemas.openxmlformats.org/officeDocument/2006/relationships/customXml" Target="../ink/ink4.xml"/><Relationship Id="rId15" Type="http://schemas.openxmlformats.org/officeDocument/2006/relationships/customXml" Target="../ink/ink9.xml"/><Relationship Id="rId10" Type="http://schemas.openxmlformats.org/officeDocument/2006/relationships/image" Target="../media/image14.png"/><Relationship Id="rId19" Type="http://schemas.openxmlformats.org/officeDocument/2006/relationships/customXml" Target="../ink/ink11.xml"/><Relationship Id="rId4" Type="http://schemas.openxmlformats.org/officeDocument/2006/relationships/image" Target="../media/image11.png"/><Relationship Id="rId9" Type="http://schemas.openxmlformats.org/officeDocument/2006/relationships/customXml" Target="../ink/ink6.xml"/><Relationship Id="rId1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customXml" Target="../ink/ink17.xml"/><Relationship Id="rId18" Type="http://schemas.openxmlformats.org/officeDocument/2006/relationships/image" Target="../media/image27.png"/><Relationship Id="rId3" Type="http://schemas.openxmlformats.org/officeDocument/2006/relationships/customXml" Target="../ink/ink12.xml"/><Relationship Id="rId7" Type="http://schemas.openxmlformats.org/officeDocument/2006/relationships/customXml" Target="../ink/ink14.xml"/><Relationship Id="rId12" Type="http://schemas.openxmlformats.org/officeDocument/2006/relationships/image" Target="../media/image24.png"/><Relationship Id="rId17" Type="http://schemas.openxmlformats.org/officeDocument/2006/relationships/customXml" Target="../ink/ink19.xml"/><Relationship Id="rId2" Type="http://schemas.openxmlformats.org/officeDocument/2006/relationships/image" Target="../media/image10.png"/><Relationship Id="rId16" Type="http://schemas.openxmlformats.org/officeDocument/2006/relationships/image" Target="../media/image26.png"/><Relationship Id="rId20" Type="http://schemas.openxmlformats.org/officeDocument/2006/relationships/image" Target="../media/image2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1.png"/><Relationship Id="rId11" Type="http://schemas.openxmlformats.org/officeDocument/2006/relationships/customXml" Target="../ink/ink16.xml"/><Relationship Id="rId5" Type="http://schemas.openxmlformats.org/officeDocument/2006/relationships/customXml" Target="../ink/ink13.xml"/><Relationship Id="rId15" Type="http://schemas.openxmlformats.org/officeDocument/2006/relationships/customXml" Target="../ink/ink18.xml"/><Relationship Id="rId10" Type="http://schemas.openxmlformats.org/officeDocument/2006/relationships/image" Target="../media/image23.png"/><Relationship Id="rId19" Type="http://schemas.openxmlformats.org/officeDocument/2006/relationships/customXml" Target="../ink/ink20.xml"/><Relationship Id="rId4" Type="http://schemas.openxmlformats.org/officeDocument/2006/relationships/image" Target="../media/image20.png"/><Relationship Id="rId9" Type="http://schemas.openxmlformats.org/officeDocument/2006/relationships/customXml" Target="../ink/ink15.xml"/><Relationship Id="rId1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5.png"/><Relationship Id="rId18" Type="http://schemas.openxmlformats.org/officeDocument/2006/relationships/customXml" Target="../ink/ink29.xml"/><Relationship Id="rId26" Type="http://schemas.openxmlformats.org/officeDocument/2006/relationships/customXml" Target="../ink/ink33.xml"/><Relationship Id="rId3" Type="http://schemas.openxmlformats.org/officeDocument/2006/relationships/customXml" Target="../ink/ink21.xml"/><Relationship Id="rId21" Type="http://schemas.openxmlformats.org/officeDocument/2006/relationships/image" Target="../media/image39.png"/><Relationship Id="rId7" Type="http://schemas.openxmlformats.org/officeDocument/2006/relationships/customXml" Target="../ink/ink23.xml"/><Relationship Id="rId12" Type="http://schemas.openxmlformats.org/officeDocument/2006/relationships/customXml" Target="../ink/ink26.xml"/><Relationship Id="rId17" Type="http://schemas.openxmlformats.org/officeDocument/2006/relationships/image" Target="../media/image37.png"/><Relationship Id="rId25" Type="http://schemas.openxmlformats.org/officeDocument/2006/relationships/image" Target="../media/image41.png"/><Relationship Id="rId2" Type="http://schemas.openxmlformats.org/officeDocument/2006/relationships/image" Target="../media/image30.png"/><Relationship Id="rId16" Type="http://schemas.openxmlformats.org/officeDocument/2006/relationships/customXml" Target="../ink/ink28.xml"/><Relationship Id="rId20" Type="http://schemas.openxmlformats.org/officeDocument/2006/relationships/customXml" Target="../ink/ink30.xml"/><Relationship Id="rId29" Type="http://schemas.openxmlformats.org/officeDocument/2006/relationships/image" Target="../media/image4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2.png"/><Relationship Id="rId11" Type="http://schemas.openxmlformats.org/officeDocument/2006/relationships/image" Target="../media/image34.png"/><Relationship Id="rId24" Type="http://schemas.openxmlformats.org/officeDocument/2006/relationships/customXml" Target="../ink/ink32.xml"/><Relationship Id="rId5" Type="http://schemas.openxmlformats.org/officeDocument/2006/relationships/customXml" Target="../ink/ink22.xml"/><Relationship Id="rId15" Type="http://schemas.openxmlformats.org/officeDocument/2006/relationships/image" Target="../media/image36.png"/><Relationship Id="rId23" Type="http://schemas.openxmlformats.org/officeDocument/2006/relationships/image" Target="../media/image40.png"/><Relationship Id="rId28" Type="http://schemas.openxmlformats.org/officeDocument/2006/relationships/customXml" Target="../ink/ink34.xml"/><Relationship Id="rId10" Type="http://schemas.openxmlformats.org/officeDocument/2006/relationships/customXml" Target="../ink/ink25.xml"/><Relationship Id="rId19" Type="http://schemas.openxmlformats.org/officeDocument/2006/relationships/image" Target="../media/image38.png"/><Relationship Id="rId4" Type="http://schemas.openxmlformats.org/officeDocument/2006/relationships/image" Target="../media/image31.png"/><Relationship Id="rId9" Type="http://schemas.openxmlformats.org/officeDocument/2006/relationships/customXml" Target="../ink/ink24.xml"/><Relationship Id="rId14" Type="http://schemas.openxmlformats.org/officeDocument/2006/relationships/customXml" Target="../ink/ink27.xml"/><Relationship Id="rId22" Type="http://schemas.openxmlformats.org/officeDocument/2006/relationships/customXml" Target="../ink/ink31.xml"/><Relationship Id="rId27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2855640" y="2360960"/>
            <a:ext cx="64807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rgbClr val="50515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rbereitung Abschlussprüfung / FP Projektbegleitung</a:t>
            </a:r>
          </a:p>
          <a:p>
            <a:pPr algn="ctr"/>
            <a:endParaRPr lang="de-DE" dirty="0"/>
          </a:p>
          <a:p>
            <a:pPr algn="ctr"/>
            <a:r>
              <a:rPr lang="de-DE" dirty="0"/>
              <a:t>Peter Bartholot</a:t>
            </a:r>
          </a:p>
          <a:p>
            <a:pPr algn="ctr"/>
            <a:r>
              <a:rPr lang="de-DE" dirty="0"/>
              <a:t>30.09.2025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4" name="Freihand 3"/>
              <p14:cNvContentPartPr/>
              <p14:nvPr/>
            </p14:nvContentPartPr>
            <p14:xfrm>
              <a:off x="3779774" y="3476696"/>
              <a:ext cx="360" cy="360"/>
            </p14:xfrm>
          </p:contentPart>
        </mc:Choice>
        <mc:Fallback xmlns="">
          <p:pic>
            <p:nvPicPr>
              <p:cNvPr id="4" name="Freihand 3"/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771494" y="3468416"/>
                <a:ext cx="16920" cy="16920"/>
              </a:xfrm>
              <a:prstGeom prst="rect">
                <a:avLst/>
              </a:prstGeom>
            </p:spPr>
          </p:pic>
        </mc:Fallback>
      </mc:AlternateContent>
      <p:sp>
        <p:nvSpPr>
          <p:cNvPr id="2" name="Textfeld 1">
            <a:extLst>
              <a:ext uri="{FF2B5EF4-FFF2-40B4-BE49-F238E27FC236}">
                <a16:creationId xmlns:a16="http://schemas.microsoft.com/office/drawing/2014/main" id="{B6909CBF-771D-814B-2F99-73EF2AF1F8BA}"/>
              </a:ext>
            </a:extLst>
          </p:cNvPr>
          <p:cNvSpPr txBox="1"/>
          <p:nvPr/>
        </p:nvSpPr>
        <p:spPr>
          <a:xfrm>
            <a:off x="2786734" y="4463713"/>
            <a:ext cx="69847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Gleitzeit:</a:t>
            </a:r>
          </a:p>
          <a:p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Beginn 8:45 Uhr</a:t>
            </a:r>
          </a:p>
          <a:p>
            <a:pPr marL="285750" indent="-285750">
              <a:buFontTx/>
              <a:buChar char="-"/>
            </a:pPr>
            <a:r>
              <a:rPr lang="de-DE" dirty="0"/>
              <a:t>Von 8:00 – 8:45 Gleitzeit – Eigenarbeit </a:t>
            </a:r>
          </a:p>
        </p:txBody>
      </p:sp>
    </p:spTree>
    <p:extLst>
      <p:ext uri="{BB962C8B-B14F-4D97-AF65-F5344CB8AC3E}">
        <p14:creationId xmlns:p14="http://schemas.microsoft.com/office/powerpoint/2010/main" val="20083191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89A15C-3737-DE83-5E79-FEA2C95A77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7BCEF02B-3A63-98CD-3F3B-56710D999ACA}"/>
              </a:ext>
            </a:extLst>
          </p:cNvPr>
          <p:cNvSpPr txBox="1"/>
          <p:nvPr/>
        </p:nvSpPr>
        <p:spPr>
          <a:xfrm>
            <a:off x="1973655" y="887240"/>
            <a:ext cx="657281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Legen Sie die Tabelle Lieferant an </a:t>
            </a:r>
          </a:p>
          <a:p>
            <a:endParaRPr lang="de-DE" dirty="0"/>
          </a:p>
          <a:p>
            <a:r>
              <a:rPr lang="de-DE" dirty="0"/>
              <a:t>CREATE TABLE Lieferant(</a:t>
            </a:r>
          </a:p>
          <a:p>
            <a:r>
              <a:rPr lang="de-DE" dirty="0"/>
              <a:t>	</a:t>
            </a:r>
            <a:r>
              <a:rPr lang="de-DE" dirty="0" err="1"/>
              <a:t>LieferantID</a:t>
            </a:r>
            <a:r>
              <a:rPr lang="de-DE" dirty="0"/>
              <a:t> INT UNSIGNED AUTOINCREMENT </a:t>
            </a:r>
            <a:r>
              <a:rPr lang="de-DE" strike="sngStrike" dirty="0"/>
              <a:t>NOT NULL</a:t>
            </a:r>
            <a:r>
              <a:rPr lang="de-DE" dirty="0"/>
              <a:t>,</a:t>
            </a:r>
          </a:p>
          <a:p>
            <a:r>
              <a:rPr lang="de-DE" dirty="0"/>
              <a:t>	Name VARCHAR(255),</a:t>
            </a:r>
          </a:p>
          <a:p>
            <a:r>
              <a:rPr lang="de-DE" dirty="0"/>
              <a:t>	PRIMARY KEY(</a:t>
            </a:r>
            <a:r>
              <a:rPr lang="de-DE" dirty="0" err="1"/>
              <a:t>LieferantID</a:t>
            </a:r>
            <a:r>
              <a:rPr lang="de-DE" dirty="0"/>
              <a:t>)</a:t>
            </a:r>
          </a:p>
          <a:p>
            <a:r>
              <a:rPr lang="de-DE" dirty="0"/>
              <a:t>	);</a:t>
            </a:r>
          </a:p>
        </p:txBody>
      </p: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30FE9AFD-10CC-F968-DCE3-264297A52EED}"/>
              </a:ext>
            </a:extLst>
          </p:cNvPr>
          <p:cNvCxnSpPr/>
          <p:nvPr/>
        </p:nvCxnSpPr>
        <p:spPr>
          <a:xfrm flipH="1">
            <a:off x="5124261" y="715224"/>
            <a:ext cx="724278" cy="94156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feld 4">
            <a:extLst>
              <a:ext uri="{FF2B5EF4-FFF2-40B4-BE49-F238E27FC236}">
                <a16:creationId xmlns:a16="http://schemas.microsoft.com/office/drawing/2014/main" id="{C7A20502-C725-89E3-E9DF-A7DEE2C95009}"/>
              </a:ext>
            </a:extLst>
          </p:cNvPr>
          <p:cNvSpPr txBox="1"/>
          <p:nvPr/>
        </p:nvSpPr>
        <p:spPr>
          <a:xfrm>
            <a:off x="5404919" y="353085"/>
            <a:ext cx="28699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Ohne Vorzeichen-Bit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49CF2EB3-BC05-9EC4-4754-098679BD4215}"/>
              </a:ext>
            </a:extLst>
          </p:cNvPr>
          <p:cNvSpPr txBox="1"/>
          <p:nvPr/>
        </p:nvSpPr>
        <p:spPr>
          <a:xfrm>
            <a:off x="9045921" y="887240"/>
            <a:ext cx="23448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RIMARY KEY [UNIQUE, NOT NULL, MANDATORY]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0FE6BC5-7133-97B4-75D9-4FDE12BE1059}"/>
              </a:ext>
            </a:extLst>
          </p:cNvPr>
          <p:cNvSpPr txBox="1"/>
          <p:nvPr/>
        </p:nvSpPr>
        <p:spPr>
          <a:xfrm>
            <a:off x="1973655" y="3539906"/>
            <a:ext cx="545924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Legen Sie die Tabelle </a:t>
            </a:r>
            <a:r>
              <a:rPr lang="de-DE" dirty="0" err="1"/>
              <a:t>Zutat_Gericht</a:t>
            </a:r>
            <a:r>
              <a:rPr lang="de-DE" dirty="0"/>
              <a:t> an </a:t>
            </a:r>
          </a:p>
          <a:p>
            <a:endParaRPr lang="de-DE" dirty="0"/>
          </a:p>
          <a:p>
            <a:r>
              <a:rPr lang="de-DE" dirty="0"/>
              <a:t>CREATE TABLE </a:t>
            </a:r>
            <a:r>
              <a:rPr lang="de-DE" dirty="0" err="1"/>
              <a:t>Zutat_Gericht</a:t>
            </a:r>
            <a:r>
              <a:rPr lang="de-DE" dirty="0"/>
              <a:t>(</a:t>
            </a:r>
          </a:p>
          <a:p>
            <a:r>
              <a:rPr lang="de-DE" dirty="0"/>
              <a:t>	</a:t>
            </a:r>
            <a:r>
              <a:rPr lang="de-DE" dirty="0" err="1"/>
              <a:t>GerichtID</a:t>
            </a:r>
            <a:r>
              <a:rPr lang="de-DE" dirty="0"/>
              <a:t> INT UNSIGNED,</a:t>
            </a:r>
          </a:p>
          <a:p>
            <a:r>
              <a:rPr lang="de-DE" dirty="0"/>
              <a:t>	</a:t>
            </a:r>
            <a:r>
              <a:rPr lang="de-DE" dirty="0" err="1"/>
              <a:t>ZutatID</a:t>
            </a:r>
            <a:r>
              <a:rPr lang="de-DE" dirty="0"/>
              <a:t> INT UNSIGNED,</a:t>
            </a:r>
          </a:p>
          <a:p>
            <a:r>
              <a:rPr lang="de-DE" dirty="0"/>
              <a:t>	Menge VARCHAR(255),</a:t>
            </a:r>
          </a:p>
          <a:p>
            <a:r>
              <a:rPr lang="de-DE" dirty="0"/>
              <a:t>	PRIMARY KEY(</a:t>
            </a:r>
            <a:r>
              <a:rPr lang="de-DE" dirty="0" err="1"/>
              <a:t>GerichtID</a:t>
            </a:r>
            <a:r>
              <a:rPr lang="de-DE" dirty="0"/>
              <a:t>, </a:t>
            </a:r>
            <a:r>
              <a:rPr lang="de-DE" dirty="0" err="1"/>
              <a:t>ZutatID</a:t>
            </a:r>
            <a:r>
              <a:rPr lang="de-DE" dirty="0"/>
              <a:t>)</a:t>
            </a:r>
          </a:p>
          <a:p>
            <a:r>
              <a:rPr lang="de-DE" dirty="0"/>
              <a:t>	);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2C6F190-4587-C559-C1EE-B67DEEDA9EC1}"/>
              </a:ext>
            </a:extLst>
          </p:cNvPr>
          <p:cNvSpPr txBox="1"/>
          <p:nvPr/>
        </p:nvSpPr>
        <p:spPr>
          <a:xfrm>
            <a:off x="7641125" y="3748135"/>
            <a:ext cx="31053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DROP TABLE Lieferant;</a:t>
            </a:r>
          </a:p>
        </p:txBody>
      </p:sp>
    </p:spTree>
    <p:extLst>
      <p:ext uri="{BB962C8B-B14F-4D97-AF65-F5344CB8AC3E}">
        <p14:creationId xmlns:p14="http://schemas.microsoft.com/office/powerpoint/2010/main" val="11310476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BB8210-D3AB-9E0D-889C-6B49459E88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A21DD8D9-5D36-7994-5020-F440D25585FC}"/>
              </a:ext>
            </a:extLst>
          </p:cNvPr>
          <p:cNvSpPr txBox="1"/>
          <p:nvPr/>
        </p:nvSpPr>
        <p:spPr>
          <a:xfrm>
            <a:off x="1138474" y="937963"/>
            <a:ext cx="615182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Zeigen Sie, ob das Gericht „Risotto“ vegan ist</a:t>
            </a:r>
          </a:p>
          <a:p>
            <a:endParaRPr lang="de-DE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de-DE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ELECXT vegan</a:t>
            </a:r>
          </a:p>
          <a:p>
            <a:r>
              <a:rPr lang="de-DE" dirty="0">
                <a:solidFill>
                  <a:srgbClr val="000000"/>
                </a:solidFill>
                <a:latin typeface="Calibri" panose="020F0502020204030204" pitchFamily="34" charset="0"/>
              </a:rPr>
              <a:t>FROM Gericht</a:t>
            </a:r>
          </a:p>
          <a:p>
            <a:r>
              <a:rPr lang="de-DE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WHERE Bezeichnung=‘Risotto‘; 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7B1BA02-7724-D8CB-4568-B2ACC6D7D3C0}"/>
              </a:ext>
            </a:extLst>
          </p:cNvPr>
          <p:cNvSpPr txBox="1"/>
          <p:nvPr/>
        </p:nvSpPr>
        <p:spPr>
          <a:xfrm>
            <a:off x="1138474" y="3429000"/>
            <a:ext cx="6151828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Zeigen Sie, ob </a:t>
            </a:r>
            <a:r>
              <a:rPr lang="de-DE" dirty="0">
                <a:solidFill>
                  <a:srgbClr val="000000"/>
                </a:solidFill>
                <a:latin typeface="Calibri" panose="020F0502020204030204" pitchFamily="34" charset="0"/>
              </a:rPr>
              <a:t>ein</a:t>
            </a:r>
            <a:r>
              <a:rPr lang="de-DE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Gericht, das den Namen  „Risotto“ enthält,  vegan ist</a:t>
            </a:r>
          </a:p>
          <a:p>
            <a:endParaRPr lang="de-DE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de-DE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ELECXT vegan</a:t>
            </a:r>
          </a:p>
          <a:p>
            <a:r>
              <a:rPr lang="de-DE" dirty="0">
                <a:solidFill>
                  <a:srgbClr val="000000"/>
                </a:solidFill>
                <a:latin typeface="Calibri" panose="020F0502020204030204" pitchFamily="34" charset="0"/>
              </a:rPr>
              <a:t>FROM Gericht</a:t>
            </a:r>
          </a:p>
          <a:p>
            <a:r>
              <a:rPr lang="de-DE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WHERE Bezeichnung LIKE ‘%Risotto%‘; 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67904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980CDE-1EAF-C94A-9902-8A23628C86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3A49D5D8-500B-441C-036E-17A75DFF1C24}"/>
              </a:ext>
            </a:extLst>
          </p:cNvPr>
          <p:cNvSpPr txBox="1"/>
          <p:nvPr/>
        </p:nvSpPr>
        <p:spPr>
          <a:xfrm>
            <a:off x="1473451" y="1143496"/>
            <a:ext cx="81684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rhöhen Sie den Preis aller Gerichte vom Lieferanten „Me </a:t>
            </a:r>
            <a:r>
              <a:rPr lang="de-DE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Gusta</a:t>
            </a:r>
            <a:r>
              <a:rPr lang="de-DE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“ um 8% 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A7A65C00-ADE7-FE70-6F47-4A3B00A6B327}"/>
              </a:ext>
            </a:extLst>
          </p:cNvPr>
          <p:cNvSpPr txBox="1"/>
          <p:nvPr/>
        </p:nvSpPr>
        <p:spPr>
          <a:xfrm>
            <a:off x="1557196" y="1720158"/>
            <a:ext cx="95061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UPDATE Gericht SET Preis = Preis * 1.08</a:t>
            </a:r>
          </a:p>
          <a:p>
            <a:r>
              <a:rPr lang="de-DE" dirty="0"/>
              <a:t>WHERE </a:t>
            </a:r>
            <a:r>
              <a:rPr lang="de-DE" dirty="0" err="1"/>
              <a:t>LieferantID</a:t>
            </a:r>
            <a:r>
              <a:rPr lang="de-DE" dirty="0"/>
              <a:t> IN (SELECT </a:t>
            </a:r>
            <a:r>
              <a:rPr lang="de-DE" dirty="0" err="1"/>
              <a:t>LieferantID</a:t>
            </a:r>
            <a:r>
              <a:rPr lang="de-DE" dirty="0"/>
              <a:t> FROM Lieferant WHERE </a:t>
            </a:r>
            <a:r>
              <a:rPr lang="de-DE" dirty="0" err="1"/>
              <a:t>Lieferant.Name</a:t>
            </a:r>
            <a:r>
              <a:rPr lang="de-DE" dirty="0"/>
              <a:t> = ‘Me </a:t>
            </a:r>
            <a:r>
              <a:rPr lang="de-DE" dirty="0" err="1"/>
              <a:t>Gusta</a:t>
            </a:r>
            <a:r>
              <a:rPr lang="de-DE" dirty="0"/>
              <a:t>‘);</a:t>
            </a: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E774BB2C-8C81-5339-422F-45571339CDFC}"/>
              </a:ext>
            </a:extLst>
          </p:cNvPr>
          <p:cNvCxnSpPr/>
          <p:nvPr/>
        </p:nvCxnSpPr>
        <p:spPr>
          <a:xfrm flipH="1" flipV="1">
            <a:off x="3576119" y="2366489"/>
            <a:ext cx="181069" cy="52156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53399033-DD15-3329-7A03-295172F8A91D}"/>
              </a:ext>
            </a:extLst>
          </p:cNvPr>
          <p:cNvSpPr txBox="1"/>
          <p:nvPr/>
        </p:nvSpPr>
        <p:spPr>
          <a:xfrm>
            <a:off x="3449370" y="2888055"/>
            <a:ext cx="125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Array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853171E-D8C7-C58F-3F38-AFB13B90C4A8}"/>
              </a:ext>
            </a:extLst>
          </p:cNvPr>
          <p:cNvSpPr txBox="1"/>
          <p:nvPr/>
        </p:nvSpPr>
        <p:spPr>
          <a:xfrm>
            <a:off x="1801640" y="4146487"/>
            <a:ext cx="5758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ERE </a:t>
            </a:r>
            <a:r>
              <a:rPr lang="de-DE" dirty="0" err="1"/>
              <a:t>LieferantID</a:t>
            </a:r>
            <a:r>
              <a:rPr lang="de-DE" dirty="0"/>
              <a:t> IN (103, 238, 455)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2F47924-E1DC-FC2F-A11C-A4EC415AF397}"/>
              </a:ext>
            </a:extLst>
          </p:cNvPr>
          <p:cNvSpPr txBox="1"/>
          <p:nvPr/>
        </p:nvSpPr>
        <p:spPr>
          <a:xfrm>
            <a:off x="1801640" y="4852719"/>
            <a:ext cx="5758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ERE </a:t>
            </a:r>
            <a:r>
              <a:rPr lang="de-DE" dirty="0" err="1"/>
              <a:t>LieferantID</a:t>
            </a:r>
            <a:r>
              <a:rPr lang="de-DE" dirty="0"/>
              <a:t> = 103</a:t>
            </a:r>
          </a:p>
        </p:txBody>
      </p:sp>
    </p:spTree>
    <p:extLst>
      <p:ext uri="{BB962C8B-B14F-4D97-AF65-F5344CB8AC3E}">
        <p14:creationId xmlns:p14="http://schemas.microsoft.com/office/powerpoint/2010/main" val="1635492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B9CB3F-C045-845E-F2FD-3D88452615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AD611F83-CCC6-7A45-F96E-E9D5945F1D56}"/>
              </a:ext>
            </a:extLst>
          </p:cNvPr>
          <p:cNvSpPr txBox="1"/>
          <p:nvPr/>
        </p:nvSpPr>
        <p:spPr>
          <a:xfrm>
            <a:off x="685800" y="1032157"/>
            <a:ext cx="930017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Listen Sie alle Lieferanten auf, von denen mehr als 50 nicht vegane Gerichte in der Datenbank erfasst sind. Ausgabe soll folgende Daten auflisten </a:t>
            </a:r>
            <a:endParaRPr lang="de-DE" dirty="0"/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2D3CA2A6-57BA-A0F8-C5EC-E8D7A804BA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5678268"/>
              </p:ext>
            </p:extLst>
          </p:nvPr>
        </p:nvGraphicFramePr>
        <p:xfrm>
          <a:off x="1581810" y="2056532"/>
          <a:ext cx="2419350" cy="1046736"/>
        </p:xfrm>
        <a:graphic>
          <a:graphicData uri="http://schemas.openxmlformats.org/drawingml/2006/table">
            <a:tbl>
              <a:tblPr/>
              <a:tblGrid>
                <a:gridCol w="1609725">
                  <a:extLst>
                    <a:ext uri="{9D8B030D-6E8A-4147-A177-3AD203B41FA5}">
                      <a16:colId xmlns:a16="http://schemas.microsoft.com/office/drawing/2014/main" val="2181583963"/>
                    </a:ext>
                  </a:extLst>
                </a:gridCol>
                <a:gridCol w="809625">
                  <a:extLst>
                    <a:ext uri="{9D8B030D-6E8A-4147-A177-3AD203B41FA5}">
                      <a16:colId xmlns:a16="http://schemas.microsoft.com/office/drawing/2014/main" val="1908635792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Lieferant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Anzahl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908797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Me Gusta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252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8121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Futtern wie bei Muttern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73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991789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 dirty="0">
                          <a:effectLst/>
                          <a:latin typeface="Calibri" panose="020F0502020204030204" pitchFamily="34" charset="0"/>
                        </a:rPr>
                        <a:t>Hungerfix </a:t>
                      </a:r>
                      <a:endParaRPr lang="de-DE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 dirty="0">
                          <a:effectLst/>
                          <a:latin typeface="Calibri" panose="020F0502020204030204" pitchFamily="34" charset="0"/>
                        </a:rPr>
                        <a:t>165 </a:t>
                      </a:r>
                      <a:endParaRPr lang="de-DE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6991807"/>
                  </a:ext>
                </a:extLst>
              </a:tr>
            </a:tbl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7E2C5C77-45AE-9C38-F07D-132059B7E708}"/>
              </a:ext>
            </a:extLst>
          </p:cNvPr>
          <p:cNvSpPr txBox="1"/>
          <p:nvPr/>
        </p:nvSpPr>
        <p:spPr>
          <a:xfrm>
            <a:off x="1303700" y="3202663"/>
            <a:ext cx="761396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SELECT </a:t>
            </a:r>
            <a:r>
              <a:rPr lang="de-DE" dirty="0" err="1"/>
              <a:t>L.Name</a:t>
            </a:r>
            <a:r>
              <a:rPr lang="de-DE" dirty="0"/>
              <a:t> AS ‘Lieferant der Stunde‘,  COUNT(G.*) AS Anzahl</a:t>
            </a:r>
          </a:p>
          <a:p>
            <a:r>
              <a:rPr lang="de-DE" dirty="0"/>
              <a:t>FROM Lieferant AS L</a:t>
            </a:r>
          </a:p>
          <a:p>
            <a:r>
              <a:rPr lang="de-DE" dirty="0"/>
              <a:t>INNER JOIN Gericht AS G ON </a:t>
            </a:r>
            <a:r>
              <a:rPr lang="de-DE" dirty="0" err="1"/>
              <a:t>L.LieferantID</a:t>
            </a:r>
            <a:r>
              <a:rPr lang="de-DE" dirty="0"/>
              <a:t> = </a:t>
            </a:r>
            <a:r>
              <a:rPr lang="de-DE" dirty="0" err="1"/>
              <a:t>G.LieferantID</a:t>
            </a:r>
            <a:endParaRPr lang="de-DE" dirty="0"/>
          </a:p>
          <a:p>
            <a:r>
              <a:rPr lang="de-DE" dirty="0"/>
              <a:t>WHERE vegan = ‘Nein‘   / vegan IS </a:t>
            </a:r>
            <a:r>
              <a:rPr lang="de-DE" dirty="0" err="1"/>
              <a:t>true</a:t>
            </a:r>
            <a:r>
              <a:rPr lang="de-DE" dirty="0"/>
              <a:t>  / vegan IS </a:t>
            </a:r>
            <a:r>
              <a:rPr lang="de-DE" dirty="0" err="1"/>
              <a:t>false</a:t>
            </a:r>
            <a:endParaRPr lang="de-DE" dirty="0"/>
          </a:p>
          <a:p>
            <a:r>
              <a:rPr lang="de-DE" dirty="0"/>
              <a:t>GROUP BY </a:t>
            </a:r>
            <a:r>
              <a:rPr lang="de-DE" dirty="0" err="1"/>
              <a:t>L.Name</a:t>
            </a:r>
            <a:endParaRPr lang="de-DE" dirty="0"/>
          </a:p>
          <a:p>
            <a:r>
              <a:rPr lang="de-DE" dirty="0"/>
              <a:t>HAVING COUNT(G.*) &gt; 50;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A82792A-DF9A-393B-F1F1-494978FC6834}"/>
              </a:ext>
            </a:extLst>
          </p:cNvPr>
          <p:cNvSpPr txBox="1"/>
          <p:nvPr/>
        </p:nvSpPr>
        <p:spPr>
          <a:xfrm>
            <a:off x="7955733" y="1634888"/>
            <a:ext cx="520800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arum </a:t>
            </a:r>
            <a:r>
              <a:rPr lang="de-DE" dirty="0">
                <a:sym typeface="Wingdings" panose="05000000000000000000" pitchFamily="2" charset="2"/>
              </a:rPr>
              <a:t> WHERE</a:t>
            </a:r>
            <a:r>
              <a:rPr lang="de-DE" dirty="0"/>
              <a:t> </a:t>
            </a:r>
          </a:p>
          <a:p>
            <a:r>
              <a:rPr lang="de-DE" dirty="0"/>
              <a:t>Geht </a:t>
            </a:r>
            <a:r>
              <a:rPr lang="de-DE" dirty="0">
                <a:sym typeface="Wingdings" panose="05000000000000000000" pitchFamily="2" charset="2"/>
              </a:rPr>
              <a:t> GROUP BY</a:t>
            </a:r>
            <a:endParaRPr lang="de-DE" dirty="0"/>
          </a:p>
          <a:p>
            <a:r>
              <a:rPr lang="de-DE" dirty="0"/>
              <a:t>Herbert  </a:t>
            </a:r>
            <a:r>
              <a:rPr lang="de-DE" dirty="0">
                <a:sym typeface="Wingdings" panose="05000000000000000000" pitchFamily="2" charset="2"/>
              </a:rPr>
              <a:t> HAVING</a:t>
            </a:r>
            <a:endParaRPr lang="de-DE" dirty="0"/>
          </a:p>
          <a:p>
            <a:r>
              <a:rPr lang="de-DE" dirty="0"/>
              <a:t>Oft </a:t>
            </a:r>
            <a:r>
              <a:rPr lang="de-DE" dirty="0">
                <a:sym typeface="Wingdings" panose="05000000000000000000" pitchFamily="2" charset="2"/>
              </a:rPr>
              <a:t> ORDER BY</a:t>
            </a:r>
            <a:endParaRPr lang="de-DE" dirty="0"/>
          </a:p>
          <a:p>
            <a:r>
              <a:rPr lang="de-DE" dirty="0"/>
              <a:t>Laufen </a:t>
            </a:r>
            <a:r>
              <a:rPr lang="de-DE" dirty="0">
                <a:sym typeface="Wingdings" panose="05000000000000000000" pitchFamily="2" charset="2"/>
              </a:rPr>
              <a:t> LIMIT</a:t>
            </a:r>
            <a:endParaRPr lang="de-DE" dirty="0"/>
          </a:p>
          <a:p>
            <a:r>
              <a:rPr lang="de-DE" dirty="0"/>
              <a:t>?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A57BAD3-E5FB-37E0-A107-6985269A9739}"/>
              </a:ext>
            </a:extLst>
          </p:cNvPr>
          <p:cNvSpPr txBox="1"/>
          <p:nvPr/>
        </p:nvSpPr>
        <p:spPr>
          <a:xfrm>
            <a:off x="1540599" y="2056532"/>
            <a:ext cx="269566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dirty="0"/>
              <a:t>Lieferant der Stund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755DC0B-2376-E897-0EAF-DAEDFA520622}"/>
              </a:ext>
            </a:extLst>
          </p:cNvPr>
          <p:cNvSpPr txBox="1"/>
          <p:nvPr/>
        </p:nvSpPr>
        <p:spPr>
          <a:xfrm>
            <a:off x="5210270" y="4913389"/>
            <a:ext cx="6623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SELECT </a:t>
            </a:r>
            <a:r>
              <a:rPr lang="de-DE" dirty="0" err="1"/>
              <a:t>L.Name</a:t>
            </a:r>
            <a:r>
              <a:rPr lang="de-DE" dirty="0"/>
              <a:t> AS ‘Lieferant der Stunde‘,  COUNT(G.*) AS Anzahl</a:t>
            </a:r>
          </a:p>
          <a:p>
            <a:r>
              <a:rPr lang="de-DE" dirty="0"/>
              <a:t>FROM Lieferant AS L, Gericht AS G</a:t>
            </a:r>
          </a:p>
          <a:p>
            <a:r>
              <a:rPr lang="de-DE" dirty="0"/>
              <a:t>WHERE  </a:t>
            </a:r>
            <a:r>
              <a:rPr lang="de-DE" dirty="0" err="1"/>
              <a:t>L.LieferantID</a:t>
            </a:r>
            <a:r>
              <a:rPr lang="de-DE" dirty="0"/>
              <a:t> = </a:t>
            </a:r>
            <a:r>
              <a:rPr lang="de-DE" dirty="0" err="1"/>
              <a:t>G.LieferantID</a:t>
            </a:r>
            <a:endParaRPr lang="de-DE" dirty="0"/>
          </a:p>
          <a:p>
            <a:r>
              <a:rPr lang="de-DE" dirty="0"/>
              <a:t>AND vegan = ‘Nein‘   / vegan IS </a:t>
            </a:r>
            <a:r>
              <a:rPr lang="de-DE" dirty="0" err="1"/>
              <a:t>true</a:t>
            </a:r>
            <a:r>
              <a:rPr lang="de-DE" dirty="0"/>
              <a:t>  / vegan IS </a:t>
            </a:r>
            <a:r>
              <a:rPr lang="de-DE" dirty="0" err="1"/>
              <a:t>false</a:t>
            </a:r>
            <a:endParaRPr lang="de-DE" dirty="0"/>
          </a:p>
          <a:p>
            <a:r>
              <a:rPr lang="de-DE" dirty="0"/>
              <a:t>GROUP BY </a:t>
            </a:r>
            <a:r>
              <a:rPr lang="de-DE" dirty="0" err="1"/>
              <a:t>L.Name</a:t>
            </a:r>
            <a:endParaRPr lang="de-DE" dirty="0"/>
          </a:p>
          <a:p>
            <a:r>
              <a:rPr lang="de-DE" dirty="0"/>
              <a:t>HAVING COUNT(G.*) &gt; 50;</a:t>
            </a:r>
          </a:p>
        </p:txBody>
      </p:sp>
    </p:spTree>
    <p:extLst>
      <p:ext uri="{BB962C8B-B14F-4D97-AF65-F5344CB8AC3E}">
        <p14:creationId xmlns:p14="http://schemas.microsoft.com/office/powerpoint/2010/main" val="36893959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AFB7A5-E788-445A-BCBB-190DF83650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3B112657-0048-753C-F31E-96BA7D22DC1C}"/>
              </a:ext>
            </a:extLst>
          </p:cNvPr>
          <p:cNvSpPr/>
          <p:nvPr/>
        </p:nvSpPr>
        <p:spPr>
          <a:xfrm>
            <a:off x="724277" y="2607398"/>
            <a:ext cx="2118511" cy="214567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Artikel</a:t>
            </a:r>
          </a:p>
          <a:p>
            <a:pPr algn="ctr"/>
            <a:endParaRPr lang="de-DE" dirty="0">
              <a:solidFill>
                <a:schemeClr val="tx1"/>
              </a:solidFill>
            </a:endParaRPr>
          </a:p>
          <a:p>
            <a:pPr algn="ctr"/>
            <a:r>
              <a:rPr lang="de-DE" dirty="0" err="1">
                <a:solidFill>
                  <a:schemeClr val="tx1"/>
                </a:solidFill>
              </a:rPr>
              <a:t>ArtikelGruppeID</a:t>
            </a:r>
            <a:r>
              <a:rPr lang="de-DE" dirty="0">
                <a:solidFill>
                  <a:schemeClr val="tx1"/>
                </a:solidFill>
              </a:rPr>
              <a:t> (FK)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D79E6F2-5390-4923-B377-01A42062E167}"/>
              </a:ext>
            </a:extLst>
          </p:cNvPr>
          <p:cNvSpPr/>
          <p:nvPr/>
        </p:nvSpPr>
        <p:spPr>
          <a:xfrm>
            <a:off x="9349212" y="2607398"/>
            <a:ext cx="2118511" cy="214567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Kunde</a:t>
            </a:r>
          </a:p>
          <a:p>
            <a:pPr algn="ctr"/>
            <a:endParaRPr lang="de-DE" dirty="0">
              <a:solidFill>
                <a:schemeClr val="tx1"/>
              </a:solidFill>
            </a:endParaRPr>
          </a:p>
          <a:p>
            <a:pPr algn="ctr"/>
            <a:r>
              <a:rPr lang="de-DE" dirty="0">
                <a:solidFill>
                  <a:schemeClr val="tx1"/>
                </a:solidFill>
              </a:rPr>
              <a:t>PLZ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2">
            <p14:nvContentPartPr>
              <p14:cNvPr id="4" name="Freihand 3">
                <a:extLst>
                  <a:ext uri="{FF2B5EF4-FFF2-40B4-BE49-F238E27FC236}">
                    <a16:creationId xmlns:a16="http://schemas.microsoft.com/office/drawing/2014/main" id="{4662F904-DEB2-CF85-AD34-C7FF6878EE4E}"/>
                  </a:ext>
                </a:extLst>
              </p14:cNvPr>
              <p14:cNvContentPartPr/>
              <p14:nvPr/>
            </p14:nvContentPartPr>
            <p14:xfrm>
              <a:off x="1610654" y="406465"/>
              <a:ext cx="8862840" cy="2183040"/>
            </p14:xfrm>
          </p:contentPart>
        </mc:Choice>
        <mc:Fallback>
          <p:pic>
            <p:nvPicPr>
              <p:cNvPr id="4" name="Freihand 3">
                <a:extLst>
                  <a:ext uri="{FF2B5EF4-FFF2-40B4-BE49-F238E27FC236}">
                    <a16:creationId xmlns:a16="http://schemas.microsoft.com/office/drawing/2014/main" id="{4662F904-DEB2-CF85-AD34-C7FF6878EE4E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593014" y="388465"/>
                <a:ext cx="8898480" cy="2218680"/>
              </a:xfrm>
              <a:prstGeom prst="rect">
                <a:avLst/>
              </a:prstGeom>
            </p:spPr>
          </p:pic>
        </mc:Fallback>
      </mc:AlternateContent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0B992E1F-3963-35F8-5365-43BD05A98B80}"/>
              </a:ext>
            </a:extLst>
          </p:cNvPr>
          <p:cNvGrpSpPr/>
          <p:nvPr/>
        </p:nvGrpSpPr>
        <p:grpSpPr>
          <a:xfrm>
            <a:off x="5259974" y="144745"/>
            <a:ext cx="1018080" cy="165600"/>
            <a:chOff x="5259974" y="144745"/>
            <a:chExt cx="1018080" cy="1656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">
              <p14:nvContentPartPr>
                <p14:cNvPr id="5" name="Freihand 4">
                  <a:extLst>
                    <a:ext uri="{FF2B5EF4-FFF2-40B4-BE49-F238E27FC236}">
                      <a16:creationId xmlns:a16="http://schemas.microsoft.com/office/drawing/2014/main" id="{B64F7660-DDF3-4DD0-5ED9-1C10D8580616}"/>
                    </a:ext>
                  </a:extLst>
                </p14:cNvPr>
                <p14:cNvContentPartPr/>
                <p14:nvPr/>
              </p14:nvContentPartPr>
              <p14:xfrm>
                <a:off x="5259974" y="144745"/>
                <a:ext cx="495360" cy="165600"/>
              </p14:xfrm>
            </p:contentPart>
          </mc:Choice>
          <mc:Fallback>
            <p:pic>
              <p:nvPicPr>
                <p:cNvPr id="5" name="Freihand 4">
                  <a:extLst>
                    <a:ext uri="{FF2B5EF4-FFF2-40B4-BE49-F238E27FC236}">
                      <a16:creationId xmlns:a16="http://schemas.microsoft.com/office/drawing/2014/main" id="{B64F7660-DDF3-4DD0-5ED9-1C10D8580616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5242334" y="127105"/>
                  <a:ext cx="531000" cy="201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">
              <p14:nvContentPartPr>
                <p14:cNvPr id="7" name="Freihand 6">
                  <a:extLst>
                    <a:ext uri="{FF2B5EF4-FFF2-40B4-BE49-F238E27FC236}">
                      <a16:creationId xmlns:a16="http://schemas.microsoft.com/office/drawing/2014/main" id="{0D73BC37-3716-562D-084B-C7DE953C70A3}"/>
                    </a:ext>
                  </a:extLst>
                </p14:cNvPr>
                <p14:cNvContentPartPr/>
                <p14:nvPr/>
              </p14:nvContentPartPr>
              <p14:xfrm>
                <a:off x="5794214" y="226105"/>
                <a:ext cx="34200" cy="28080"/>
              </p14:xfrm>
            </p:contentPart>
          </mc:Choice>
          <mc:Fallback>
            <p:pic>
              <p:nvPicPr>
                <p:cNvPr id="7" name="Freihand 6">
                  <a:extLst>
                    <a:ext uri="{FF2B5EF4-FFF2-40B4-BE49-F238E27FC236}">
                      <a16:creationId xmlns:a16="http://schemas.microsoft.com/office/drawing/2014/main" id="{0D73BC37-3716-562D-084B-C7DE953C70A3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776214" y="208465"/>
                  <a:ext cx="69840" cy="63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8" name="Freihand 7">
                  <a:extLst>
                    <a:ext uri="{FF2B5EF4-FFF2-40B4-BE49-F238E27FC236}">
                      <a16:creationId xmlns:a16="http://schemas.microsoft.com/office/drawing/2014/main" id="{189D4ADF-1A62-D2F9-9F24-5065704FC234}"/>
                    </a:ext>
                  </a:extLst>
                </p14:cNvPr>
                <p14:cNvContentPartPr/>
                <p14:nvPr/>
              </p14:nvContentPartPr>
              <p14:xfrm>
                <a:off x="5965934" y="208105"/>
                <a:ext cx="360" cy="360"/>
              </p14:xfrm>
            </p:contentPart>
          </mc:Choice>
          <mc:Fallback>
            <p:pic>
              <p:nvPicPr>
                <p:cNvPr id="8" name="Freihand 7">
                  <a:extLst>
                    <a:ext uri="{FF2B5EF4-FFF2-40B4-BE49-F238E27FC236}">
                      <a16:creationId xmlns:a16="http://schemas.microsoft.com/office/drawing/2014/main" id="{189D4ADF-1A62-D2F9-9F24-5065704FC234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5947934" y="190465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">
              <p14:nvContentPartPr>
                <p14:cNvPr id="9" name="Freihand 8">
                  <a:extLst>
                    <a:ext uri="{FF2B5EF4-FFF2-40B4-BE49-F238E27FC236}">
                      <a16:creationId xmlns:a16="http://schemas.microsoft.com/office/drawing/2014/main" id="{50DD9F22-E1EA-DAD0-2110-A1BDE735CDD8}"/>
                    </a:ext>
                  </a:extLst>
                </p14:cNvPr>
                <p14:cNvContentPartPr/>
                <p14:nvPr/>
              </p14:nvContentPartPr>
              <p14:xfrm>
                <a:off x="5983934" y="262105"/>
                <a:ext cx="3960" cy="14760"/>
              </p14:xfrm>
            </p:contentPart>
          </mc:Choice>
          <mc:Fallback>
            <p:pic>
              <p:nvPicPr>
                <p:cNvPr id="9" name="Freihand 8">
                  <a:extLst>
                    <a:ext uri="{FF2B5EF4-FFF2-40B4-BE49-F238E27FC236}">
                      <a16:creationId xmlns:a16="http://schemas.microsoft.com/office/drawing/2014/main" id="{50DD9F22-E1EA-DAD0-2110-A1BDE735CDD8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5966294" y="244465"/>
                  <a:ext cx="39600" cy="50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">
              <p14:nvContentPartPr>
                <p14:cNvPr id="10" name="Freihand 9">
                  <a:extLst>
                    <a:ext uri="{FF2B5EF4-FFF2-40B4-BE49-F238E27FC236}">
                      <a16:creationId xmlns:a16="http://schemas.microsoft.com/office/drawing/2014/main" id="{7F2FFFF8-8FF9-931E-248F-F97765F95447}"/>
                    </a:ext>
                  </a:extLst>
                </p14:cNvPr>
                <p14:cNvContentPartPr/>
                <p14:nvPr/>
              </p14:nvContentPartPr>
              <p14:xfrm>
                <a:off x="6093014" y="208105"/>
                <a:ext cx="185040" cy="92160"/>
              </p14:xfrm>
            </p:contentPart>
          </mc:Choice>
          <mc:Fallback>
            <p:pic>
              <p:nvPicPr>
                <p:cNvPr id="10" name="Freihand 9">
                  <a:extLst>
                    <a:ext uri="{FF2B5EF4-FFF2-40B4-BE49-F238E27FC236}">
                      <a16:creationId xmlns:a16="http://schemas.microsoft.com/office/drawing/2014/main" id="{7F2FFFF8-8FF9-931E-248F-F97765F95447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6075014" y="190465"/>
                  <a:ext cx="220680" cy="12780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12" name="Rechteck 11">
            <a:extLst>
              <a:ext uri="{FF2B5EF4-FFF2-40B4-BE49-F238E27FC236}">
                <a16:creationId xmlns:a16="http://schemas.microsoft.com/office/drawing/2014/main" id="{A378F581-1627-C282-6336-5B331F9D1C82}"/>
              </a:ext>
            </a:extLst>
          </p:cNvPr>
          <p:cNvSpPr/>
          <p:nvPr/>
        </p:nvSpPr>
        <p:spPr>
          <a:xfrm>
            <a:off x="6940990" y="2589505"/>
            <a:ext cx="2118511" cy="214567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Rechnung</a:t>
            </a:r>
          </a:p>
          <a:p>
            <a:pPr algn="ctr"/>
            <a:endParaRPr lang="de-DE" dirty="0">
              <a:solidFill>
                <a:schemeClr val="tx1"/>
              </a:solidFill>
            </a:endParaRPr>
          </a:p>
          <a:p>
            <a:pPr algn="ctr"/>
            <a:r>
              <a:rPr lang="de-DE" dirty="0">
                <a:solidFill>
                  <a:schemeClr val="tx1"/>
                </a:solidFill>
              </a:rPr>
              <a:t>Datum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6B46C91A-C6B3-0D1E-1C9E-06B7EC6BF50D}"/>
              </a:ext>
            </a:extLst>
          </p:cNvPr>
          <p:cNvGrpSpPr/>
          <p:nvPr/>
        </p:nvGrpSpPr>
        <p:grpSpPr>
          <a:xfrm>
            <a:off x="8412494" y="2288905"/>
            <a:ext cx="1555560" cy="318960"/>
            <a:chOff x="8412494" y="2288905"/>
            <a:chExt cx="1555560" cy="3189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4">
              <p14:nvContentPartPr>
                <p14:cNvPr id="13" name="Freihand 12">
                  <a:extLst>
                    <a:ext uri="{FF2B5EF4-FFF2-40B4-BE49-F238E27FC236}">
                      <a16:creationId xmlns:a16="http://schemas.microsoft.com/office/drawing/2014/main" id="{8370AD81-735A-A160-6E50-7C46A6754BD0}"/>
                    </a:ext>
                  </a:extLst>
                </p14:cNvPr>
                <p14:cNvContentPartPr/>
                <p14:nvPr/>
              </p14:nvContentPartPr>
              <p14:xfrm>
                <a:off x="8482694" y="2315545"/>
                <a:ext cx="1331280" cy="292320"/>
              </p14:xfrm>
            </p:contentPart>
          </mc:Choice>
          <mc:Fallback>
            <p:pic>
              <p:nvPicPr>
                <p:cNvPr id="13" name="Freihand 12">
                  <a:extLst>
                    <a:ext uri="{FF2B5EF4-FFF2-40B4-BE49-F238E27FC236}">
                      <a16:creationId xmlns:a16="http://schemas.microsoft.com/office/drawing/2014/main" id="{8370AD81-735A-A160-6E50-7C46A6754BD0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8465054" y="2297545"/>
                  <a:ext cx="1366920" cy="327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">
              <p14:nvContentPartPr>
                <p14:cNvPr id="14" name="Freihand 13">
                  <a:extLst>
                    <a:ext uri="{FF2B5EF4-FFF2-40B4-BE49-F238E27FC236}">
                      <a16:creationId xmlns:a16="http://schemas.microsoft.com/office/drawing/2014/main" id="{359D3598-EC97-6855-31D5-8F6DE7F71E27}"/>
                    </a:ext>
                  </a:extLst>
                </p14:cNvPr>
                <p14:cNvContentPartPr/>
                <p14:nvPr/>
              </p14:nvContentPartPr>
              <p14:xfrm>
                <a:off x="9876974" y="2288905"/>
                <a:ext cx="91080" cy="182160"/>
              </p14:xfrm>
            </p:contentPart>
          </mc:Choice>
          <mc:Fallback>
            <p:pic>
              <p:nvPicPr>
                <p:cNvPr id="14" name="Freihand 13">
                  <a:extLst>
                    <a:ext uri="{FF2B5EF4-FFF2-40B4-BE49-F238E27FC236}">
                      <a16:creationId xmlns:a16="http://schemas.microsoft.com/office/drawing/2014/main" id="{359D3598-EC97-6855-31D5-8F6DE7F71E27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9859334" y="2270905"/>
                  <a:ext cx="126720" cy="217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">
              <p14:nvContentPartPr>
                <p14:cNvPr id="16" name="Freihand 15">
                  <a:extLst>
                    <a:ext uri="{FF2B5EF4-FFF2-40B4-BE49-F238E27FC236}">
                      <a16:creationId xmlns:a16="http://schemas.microsoft.com/office/drawing/2014/main" id="{02D6ECE1-0C43-8F53-5B4C-D0DF5422D2FC}"/>
                    </a:ext>
                  </a:extLst>
                </p14:cNvPr>
                <p14:cNvContentPartPr/>
                <p14:nvPr/>
              </p14:nvContentPartPr>
              <p14:xfrm>
                <a:off x="8412494" y="2326705"/>
                <a:ext cx="134280" cy="262080"/>
              </p14:xfrm>
            </p:contentPart>
          </mc:Choice>
          <mc:Fallback>
            <p:pic>
              <p:nvPicPr>
                <p:cNvPr id="16" name="Freihand 15">
                  <a:extLst>
                    <a:ext uri="{FF2B5EF4-FFF2-40B4-BE49-F238E27FC236}">
                      <a16:creationId xmlns:a16="http://schemas.microsoft.com/office/drawing/2014/main" id="{02D6ECE1-0C43-8F53-5B4C-D0DF5422D2FC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8394854" y="2308705"/>
                  <a:ext cx="169920" cy="29772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20">
            <p14:nvContentPartPr>
              <p14:cNvPr id="18" name="Freihand 17">
                <a:extLst>
                  <a:ext uri="{FF2B5EF4-FFF2-40B4-BE49-F238E27FC236}">
                    <a16:creationId xmlns:a16="http://schemas.microsoft.com/office/drawing/2014/main" id="{41376C49-23DC-1636-C31B-944031B3967B}"/>
                  </a:ext>
                </a:extLst>
              </p14:cNvPr>
              <p14:cNvContentPartPr/>
              <p14:nvPr/>
            </p14:nvContentPartPr>
            <p14:xfrm>
              <a:off x="2081894" y="1719385"/>
              <a:ext cx="5242680" cy="897120"/>
            </p14:xfrm>
          </p:contentPart>
        </mc:Choice>
        <mc:Fallback>
          <p:pic>
            <p:nvPicPr>
              <p:cNvPr id="18" name="Freihand 17">
                <a:extLst>
                  <a:ext uri="{FF2B5EF4-FFF2-40B4-BE49-F238E27FC236}">
                    <a16:creationId xmlns:a16="http://schemas.microsoft.com/office/drawing/2014/main" id="{41376C49-23DC-1636-C31B-944031B3967B}"/>
                  </a:ext>
                </a:extLst>
              </p:cNvPr>
              <p:cNvPicPr/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2063894" y="1701745"/>
                <a:ext cx="5278320" cy="932760"/>
              </a:xfrm>
              <a:prstGeom prst="rect">
                <a:avLst/>
              </a:prstGeom>
            </p:spPr>
          </p:pic>
        </mc:Fallback>
      </mc:AlternateContent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927D1148-25EA-E6BA-5E5E-CD807E1011E2}"/>
              </a:ext>
            </a:extLst>
          </p:cNvPr>
          <p:cNvGrpSpPr/>
          <p:nvPr/>
        </p:nvGrpSpPr>
        <p:grpSpPr>
          <a:xfrm>
            <a:off x="3974054" y="1409785"/>
            <a:ext cx="844200" cy="242640"/>
            <a:chOff x="3974054" y="1409785"/>
            <a:chExt cx="844200" cy="2426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2">
              <p14:nvContentPartPr>
                <p14:cNvPr id="19" name="Freihand 18">
                  <a:extLst>
                    <a:ext uri="{FF2B5EF4-FFF2-40B4-BE49-F238E27FC236}">
                      <a16:creationId xmlns:a16="http://schemas.microsoft.com/office/drawing/2014/main" id="{BB87AA73-8041-433A-0232-FFEF3A9E654C}"/>
                    </a:ext>
                  </a:extLst>
                </p14:cNvPr>
                <p14:cNvContentPartPr/>
                <p14:nvPr/>
              </p14:nvContentPartPr>
              <p14:xfrm>
                <a:off x="3974054" y="1409785"/>
                <a:ext cx="375480" cy="242640"/>
              </p14:xfrm>
            </p:contentPart>
          </mc:Choice>
          <mc:Fallback>
            <p:pic>
              <p:nvPicPr>
                <p:cNvPr id="19" name="Freihand 18">
                  <a:extLst>
                    <a:ext uri="{FF2B5EF4-FFF2-40B4-BE49-F238E27FC236}">
                      <a16:creationId xmlns:a16="http://schemas.microsoft.com/office/drawing/2014/main" id="{BB87AA73-8041-433A-0232-FFEF3A9E654C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3956414" y="1392145"/>
                  <a:ext cx="411120" cy="278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">
              <p14:nvContentPartPr>
                <p14:cNvPr id="20" name="Freihand 19">
                  <a:extLst>
                    <a:ext uri="{FF2B5EF4-FFF2-40B4-BE49-F238E27FC236}">
                      <a16:creationId xmlns:a16="http://schemas.microsoft.com/office/drawing/2014/main" id="{7BFC1CC1-0141-C878-A63F-1A436066E660}"/>
                    </a:ext>
                  </a:extLst>
                </p14:cNvPr>
                <p14:cNvContentPartPr/>
                <p14:nvPr/>
              </p14:nvContentPartPr>
              <p14:xfrm>
                <a:off x="4462934" y="1484305"/>
                <a:ext cx="360" cy="360"/>
              </p14:xfrm>
            </p:contentPart>
          </mc:Choice>
          <mc:Fallback>
            <p:pic>
              <p:nvPicPr>
                <p:cNvPr id="20" name="Freihand 19">
                  <a:extLst>
                    <a:ext uri="{FF2B5EF4-FFF2-40B4-BE49-F238E27FC236}">
                      <a16:creationId xmlns:a16="http://schemas.microsoft.com/office/drawing/2014/main" id="{7BFC1CC1-0141-C878-A63F-1A436066E660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4445294" y="1466665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">
              <p14:nvContentPartPr>
                <p14:cNvPr id="21" name="Freihand 20">
                  <a:extLst>
                    <a:ext uri="{FF2B5EF4-FFF2-40B4-BE49-F238E27FC236}">
                      <a16:creationId xmlns:a16="http://schemas.microsoft.com/office/drawing/2014/main" id="{2BB240B9-4663-56BC-B3CD-6326696D4BDC}"/>
                    </a:ext>
                  </a:extLst>
                </p14:cNvPr>
                <p14:cNvContentPartPr/>
                <p14:nvPr/>
              </p14:nvContentPartPr>
              <p14:xfrm>
                <a:off x="4462934" y="1566025"/>
                <a:ext cx="360" cy="360"/>
              </p14:xfrm>
            </p:contentPart>
          </mc:Choice>
          <mc:Fallback>
            <p:pic>
              <p:nvPicPr>
                <p:cNvPr id="21" name="Freihand 20">
                  <a:extLst>
                    <a:ext uri="{FF2B5EF4-FFF2-40B4-BE49-F238E27FC236}">
                      <a16:creationId xmlns:a16="http://schemas.microsoft.com/office/drawing/2014/main" id="{2BB240B9-4663-56BC-B3CD-6326696D4BDC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4445294" y="1548025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">
              <p14:nvContentPartPr>
                <p14:cNvPr id="22" name="Freihand 21">
                  <a:extLst>
                    <a:ext uri="{FF2B5EF4-FFF2-40B4-BE49-F238E27FC236}">
                      <a16:creationId xmlns:a16="http://schemas.microsoft.com/office/drawing/2014/main" id="{E12F7A5F-0071-D85A-4D8F-68EC466CD9DD}"/>
                    </a:ext>
                  </a:extLst>
                </p14:cNvPr>
                <p14:cNvContentPartPr/>
                <p14:nvPr/>
              </p14:nvContentPartPr>
              <p14:xfrm>
                <a:off x="4570934" y="1484305"/>
                <a:ext cx="247320" cy="149760"/>
              </p14:xfrm>
            </p:contentPart>
          </mc:Choice>
          <mc:Fallback>
            <p:pic>
              <p:nvPicPr>
                <p:cNvPr id="22" name="Freihand 21">
                  <a:extLst>
                    <a:ext uri="{FF2B5EF4-FFF2-40B4-BE49-F238E27FC236}">
                      <a16:creationId xmlns:a16="http://schemas.microsoft.com/office/drawing/2014/main" id="{E12F7A5F-0071-D85A-4D8F-68EC466CD9DD}"/>
                    </a:ext>
                  </a:extLst>
                </p:cNvPr>
                <p:cNvPicPr/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4553294" y="1466665"/>
                  <a:ext cx="282960" cy="18540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24" name="Rechteck 23">
            <a:extLst>
              <a:ext uri="{FF2B5EF4-FFF2-40B4-BE49-F238E27FC236}">
                <a16:creationId xmlns:a16="http://schemas.microsoft.com/office/drawing/2014/main" id="{99FCE6FC-1383-2A21-2088-A7DC058D0E82}"/>
              </a:ext>
            </a:extLst>
          </p:cNvPr>
          <p:cNvSpPr/>
          <p:nvPr/>
        </p:nvSpPr>
        <p:spPr>
          <a:xfrm>
            <a:off x="3832633" y="2682481"/>
            <a:ext cx="2118511" cy="214567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Position</a:t>
            </a: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D6491380-9A19-4F38-DC6E-9FEE0B643B79}"/>
              </a:ext>
            </a:extLst>
          </p:cNvPr>
          <p:cNvGrpSpPr/>
          <p:nvPr/>
        </p:nvGrpSpPr>
        <p:grpSpPr>
          <a:xfrm>
            <a:off x="2462414" y="2287825"/>
            <a:ext cx="1661040" cy="544680"/>
            <a:chOff x="2462414" y="2287825"/>
            <a:chExt cx="1661040" cy="5446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9">
              <p14:nvContentPartPr>
                <p14:cNvPr id="25" name="Freihand 24">
                  <a:extLst>
                    <a:ext uri="{FF2B5EF4-FFF2-40B4-BE49-F238E27FC236}">
                      <a16:creationId xmlns:a16="http://schemas.microsoft.com/office/drawing/2014/main" id="{602728E5-37BD-0A8D-40BD-95B9765BD261}"/>
                    </a:ext>
                  </a:extLst>
                </p14:cNvPr>
                <p14:cNvContentPartPr/>
                <p14:nvPr/>
              </p14:nvContentPartPr>
              <p14:xfrm>
                <a:off x="2462414" y="2287825"/>
                <a:ext cx="1661040" cy="310680"/>
              </p14:xfrm>
            </p:contentPart>
          </mc:Choice>
          <mc:Fallback>
            <p:pic>
              <p:nvPicPr>
                <p:cNvPr id="25" name="Freihand 24">
                  <a:extLst>
                    <a:ext uri="{FF2B5EF4-FFF2-40B4-BE49-F238E27FC236}">
                      <a16:creationId xmlns:a16="http://schemas.microsoft.com/office/drawing/2014/main" id="{602728E5-37BD-0A8D-40BD-95B9765BD261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2444414" y="2270185"/>
                  <a:ext cx="1696680" cy="346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">
              <p14:nvContentPartPr>
                <p14:cNvPr id="26" name="Freihand 25">
                  <a:extLst>
                    <a:ext uri="{FF2B5EF4-FFF2-40B4-BE49-F238E27FC236}">
                      <a16:creationId xmlns:a16="http://schemas.microsoft.com/office/drawing/2014/main" id="{A016AAD4-1A78-F488-C23C-4213802241CD}"/>
                    </a:ext>
                  </a:extLst>
                </p14:cNvPr>
                <p14:cNvContentPartPr/>
                <p14:nvPr/>
              </p14:nvContentPartPr>
              <p14:xfrm>
                <a:off x="2525774" y="2558545"/>
                <a:ext cx="199800" cy="273960"/>
              </p14:xfrm>
            </p:contentPart>
          </mc:Choice>
          <mc:Fallback>
            <p:pic>
              <p:nvPicPr>
                <p:cNvPr id="26" name="Freihand 25">
                  <a:extLst>
                    <a:ext uri="{FF2B5EF4-FFF2-40B4-BE49-F238E27FC236}">
                      <a16:creationId xmlns:a16="http://schemas.microsoft.com/office/drawing/2014/main" id="{A016AAD4-1A78-F488-C23C-4213802241CD}"/>
                    </a:ext>
                  </a:extLst>
                </p:cNvPr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2507774" y="2540545"/>
                  <a:ext cx="235440" cy="309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3">
              <p14:nvContentPartPr>
                <p14:cNvPr id="27" name="Freihand 26">
                  <a:extLst>
                    <a:ext uri="{FF2B5EF4-FFF2-40B4-BE49-F238E27FC236}">
                      <a16:creationId xmlns:a16="http://schemas.microsoft.com/office/drawing/2014/main" id="{2FCFE6B2-4AE4-9677-EC97-F0D8682FFD62}"/>
                    </a:ext>
                  </a:extLst>
                </p14:cNvPr>
                <p14:cNvContentPartPr/>
                <p14:nvPr/>
              </p14:nvContentPartPr>
              <p14:xfrm>
                <a:off x="3928694" y="2580145"/>
                <a:ext cx="109800" cy="153000"/>
              </p14:xfrm>
            </p:contentPart>
          </mc:Choice>
          <mc:Fallback>
            <p:pic>
              <p:nvPicPr>
                <p:cNvPr id="27" name="Freihand 26">
                  <a:extLst>
                    <a:ext uri="{FF2B5EF4-FFF2-40B4-BE49-F238E27FC236}">
                      <a16:creationId xmlns:a16="http://schemas.microsoft.com/office/drawing/2014/main" id="{2FCFE6B2-4AE4-9677-EC97-F0D8682FFD62}"/>
                    </a:ext>
                  </a:extLst>
                </p:cNvPr>
                <p:cNvPicPr/>
                <p:nvPr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3910694" y="2562145"/>
                  <a:ext cx="145440" cy="1886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C22E6DCA-0101-0BD4-7A6E-E7C70318CFF0}"/>
              </a:ext>
            </a:extLst>
          </p:cNvPr>
          <p:cNvGrpSpPr/>
          <p:nvPr/>
        </p:nvGrpSpPr>
        <p:grpSpPr>
          <a:xfrm>
            <a:off x="5459054" y="2387905"/>
            <a:ext cx="1594800" cy="273960"/>
            <a:chOff x="5459054" y="2387905"/>
            <a:chExt cx="1594800" cy="2739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5">
              <p14:nvContentPartPr>
                <p14:cNvPr id="29" name="Freihand 28">
                  <a:extLst>
                    <a:ext uri="{FF2B5EF4-FFF2-40B4-BE49-F238E27FC236}">
                      <a16:creationId xmlns:a16="http://schemas.microsoft.com/office/drawing/2014/main" id="{71BBA264-161B-6D56-A3A9-5AA27E230CB4}"/>
                    </a:ext>
                  </a:extLst>
                </p14:cNvPr>
                <p14:cNvContentPartPr/>
                <p14:nvPr/>
              </p14:nvContentPartPr>
              <p14:xfrm>
                <a:off x="5748494" y="2441905"/>
                <a:ext cx="1193040" cy="219960"/>
              </p14:xfrm>
            </p:contentPart>
          </mc:Choice>
          <mc:Fallback>
            <p:pic>
              <p:nvPicPr>
                <p:cNvPr id="29" name="Freihand 28">
                  <a:extLst>
                    <a:ext uri="{FF2B5EF4-FFF2-40B4-BE49-F238E27FC236}">
                      <a16:creationId xmlns:a16="http://schemas.microsoft.com/office/drawing/2014/main" id="{71BBA264-161B-6D56-A3A9-5AA27E230CB4}"/>
                    </a:ext>
                  </a:extLst>
                </p:cNvPr>
                <p:cNvPicPr/>
                <p:nvPr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5730854" y="2424265"/>
                  <a:ext cx="1228680" cy="25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7">
              <p14:nvContentPartPr>
                <p14:cNvPr id="30" name="Freihand 29">
                  <a:extLst>
                    <a:ext uri="{FF2B5EF4-FFF2-40B4-BE49-F238E27FC236}">
                      <a16:creationId xmlns:a16="http://schemas.microsoft.com/office/drawing/2014/main" id="{6DCE8767-3741-530F-EA7C-EA8E5CDD4938}"/>
                    </a:ext>
                  </a:extLst>
                </p14:cNvPr>
                <p14:cNvContentPartPr/>
                <p14:nvPr/>
              </p14:nvContentPartPr>
              <p14:xfrm>
                <a:off x="6934694" y="2387905"/>
                <a:ext cx="119160" cy="110160"/>
              </p14:xfrm>
            </p:contentPart>
          </mc:Choice>
          <mc:Fallback>
            <p:pic>
              <p:nvPicPr>
                <p:cNvPr id="30" name="Freihand 29">
                  <a:extLst>
                    <a:ext uri="{FF2B5EF4-FFF2-40B4-BE49-F238E27FC236}">
                      <a16:creationId xmlns:a16="http://schemas.microsoft.com/office/drawing/2014/main" id="{6DCE8767-3741-530F-EA7C-EA8E5CDD4938}"/>
                    </a:ext>
                  </a:extLst>
                </p:cNvPr>
                <p:cNvPicPr/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6916694" y="2369905"/>
                  <a:ext cx="154800" cy="145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9">
              <p14:nvContentPartPr>
                <p14:cNvPr id="32" name="Freihand 31">
                  <a:extLst>
                    <a:ext uri="{FF2B5EF4-FFF2-40B4-BE49-F238E27FC236}">
                      <a16:creationId xmlns:a16="http://schemas.microsoft.com/office/drawing/2014/main" id="{03407192-ACA5-D1FD-C769-A1D738696311}"/>
                    </a:ext>
                  </a:extLst>
                </p14:cNvPr>
                <p14:cNvContentPartPr/>
                <p14:nvPr/>
              </p14:nvContentPartPr>
              <p14:xfrm>
                <a:off x="5459054" y="2389705"/>
                <a:ext cx="316800" cy="243360"/>
              </p14:xfrm>
            </p:contentPart>
          </mc:Choice>
          <mc:Fallback>
            <p:pic>
              <p:nvPicPr>
                <p:cNvPr id="32" name="Freihand 31">
                  <a:extLst>
                    <a:ext uri="{FF2B5EF4-FFF2-40B4-BE49-F238E27FC236}">
                      <a16:creationId xmlns:a16="http://schemas.microsoft.com/office/drawing/2014/main" id="{03407192-ACA5-D1FD-C769-A1D738696311}"/>
                    </a:ext>
                  </a:extLst>
                </p:cNvPr>
                <p:cNvPicPr/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5441054" y="2372065"/>
                  <a:ext cx="352440" cy="27900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22296F17-C763-4036-B365-B7F1024711CB}"/>
              </a:ext>
            </a:extLst>
          </p:cNvPr>
          <p:cNvSpPr/>
          <p:nvPr/>
        </p:nvSpPr>
        <p:spPr>
          <a:xfrm>
            <a:off x="724277" y="5241956"/>
            <a:ext cx="2118511" cy="144855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ArtikelGruppe</a:t>
            </a:r>
            <a:endParaRPr lang="de-DE" dirty="0">
              <a:solidFill>
                <a:schemeClr val="tx1"/>
              </a:solidFill>
            </a:endParaRPr>
          </a:p>
          <a:p>
            <a:pPr algn="ctr"/>
            <a:endParaRPr lang="de-DE" dirty="0">
              <a:solidFill>
                <a:schemeClr val="tx1"/>
              </a:solidFill>
            </a:endParaRPr>
          </a:p>
          <a:p>
            <a:pPr algn="ctr"/>
            <a:r>
              <a:rPr lang="de-DE" dirty="0">
                <a:solidFill>
                  <a:schemeClr val="tx1"/>
                </a:solidFill>
              </a:rPr>
              <a:t>Bezeichnung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0DD17D65-E48D-F3C0-308F-0504E6DE5BC8}"/>
              </a:ext>
            </a:extLst>
          </p:cNvPr>
          <p:cNvGrpSpPr/>
          <p:nvPr/>
        </p:nvGrpSpPr>
        <p:grpSpPr>
          <a:xfrm>
            <a:off x="1737374" y="4690465"/>
            <a:ext cx="499680" cy="632160"/>
            <a:chOff x="1737374" y="4690465"/>
            <a:chExt cx="499680" cy="6321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1">
              <p14:nvContentPartPr>
                <p14:cNvPr id="35" name="Freihand 34">
                  <a:extLst>
                    <a:ext uri="{FF2B5EF4-FFF2-40B4-BE49-F238E27FC236}">
                      <a16:creationId xmlns:a16="http://schemas.microsoft.com/office/drawing/2014/main" id="{A4943FA5-6908-3873-C636-420724124081}"/>
                    </a:ext>
                  </a:extLst>
                </p14:cNvPr>
                <p14:cNvContentPartPr/>
                <p14:nvPr/>
              </p14:nvContentPartPr>
              <p14:xfrm>
                <a:off x="1737374" y="4690465"/>
                <a:ext cx="20880" cy="596880"/>
              </p14:xfrm>
            </p:contentPart>
          </mc:Choice>
          <mc:Fallback>
            <p:pic>
              <p:nvPicPr>
                <p:cNvPr id="35" name="Freihand 34">
                  <a:extLst>
                    <a:ext uri="{FF2B5EF4-FFF2-40B4-BE49-F238E27FC236}">
                      <a16:creationId xmlns:a16="http://schemas.microsoft.com/office/drawing/2014/main" id="{A4943FA5-6908-3873-C636-420724124081}"/>
                    </a:ext>
                  </a:extLst>
                </p:cNvPr>
                <p:cNvPicPr/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1719734" y="4672825"/>
                  <a:ext cx="56520" cy="632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3">
              <p14:nvContentPartPr>
                <p14:cNvPr id="36" name="Freihand 35">
                  <a:extLst>
                    <a:ext uri="{FF2B5EF4-FFF2-40B4-BE49-F238E27FC236}">
                      <a16:creationId xmlns:a16="http://schemas.microsoft.com/office/drawing/2014/main" id="{AED139B4-D688-675F-FEE7-07CB6152FF83}"/>
                    </a:ext>
                  </a:extLst>
                </p14:cNvPr>
                <p14:cNvContentPartPr/>
                <p14:nvPr/>
              </p14:nvContentPartPr>
              <p14:xfrm>
                <a:off x="1910174" y="5178625"/>
                <a:ext cx="137160" cy="144000"/>
              </p14:xfrm>
            </p:contentPart>
          </mc:Choice>
          <mc:Fallback>
            <p:pic>
              <p:nvPicPr>
                <p:cNvPr id="36" name="Freihand 35">
                  <a:extLst>
                    <a:ext uri="{FF2B5EF4-FFF2-40B4-BE49-F238E27FC236}">
                      <a16:creationId xmlns:a16="http://schemas.microsoft.com/office/drawing/2014/main" id="{AED139B4-D688-675F-FEE7-07CB6152FF83}"/>
                    </a:ext>
                  </a:extLst>
                </p:cNvPr>
                <p:cNvPicPr/>
                <p:nvPr/>
              </p:nvPicPr>
              <p:blipFill>
                <a:blip r:embed="rId44"/>
                <a:stretch>
                  <a:fillRect/>
                </a:stretch>
              </p:blipFill>
              <p:spPr>
                <a:xfrm>
                  <a:off x="1892174" y="5160625"/>
                  <a:ext cx="172800" cy="179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5">
              <p14:nvContentPartPr>
                <p14:cNvPr id="37" name="Freihand 36">
                  <a:extLst>
                    <a:ext uri="{FF2B5EF4-FFF2-40B4-BE49-F238E27FC236}">
                      <a16:creationId xmlns:a16="http://schemas.microsoft.com/office/drawing/2014/main" id="{3613AFDA-9F17-E5B5-97E5-B00360577194}"/>
                    </a:ext>
                  </a:extLst>
                </p14:cNvPr>
                <p14:cNvContentPartPr/>
                <p14:nvPr/>
              </p14:nvContentPartPr>
              <p14:xfrm>
                <a:off x="2072534" y="4698385"/>
                <a:ext cx="164520" cy="107640"/>
              </p14:xfrm>
            </p:contentPart>
          </mc:Choice>
          <mc:Fallback>
            <p:pic>
              <p:nvPicPr>
                <p:cNvPr id="37" name="Freihand 36">
                  <a:extLst>
                    <a:ext uri="{FF2B5EF4-FFF2-40B4-BE49-F238E27FC236}">
                      <a16:creationId xmlns:a16="http://schemas.microsoft.com/office/drawing/2014/main" id="{3613AFDA-9F17-E5B5-97E5-B00360577194}"/>
                    </a:ext>
                  </a:extLst>
                </p:cNvPr>
                <p:cNvPicPr/>
                <p:nvPr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2054534" y="4680745"/>
                  <a:ext cx="200160" cy="14328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39" name="Textfeld 38">
            <a:extLst>
              <a:ext uri="{FF2B5EF4-FFF2-40B4-BE49-F238E27FC236}">
                <a16:creationId xmlns:a16="http://schemas.microsoft.com/office/drawing/2014/main" id="{48A1CD71-1A15-9E30-7957-ED5EFC956483}"/>
              </a:ext>
            </a:extLst>
          </p:cNvPr>
          <p:cNvSpPr txBox="1"/>
          <p:nvPr/>
        </p:nvSpPr>
        <p:spPr>
          <a:xfrm>
            <a:off x="4462934" y="5504507"/>
            <a:ext cx="53510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ie viele Artikel habe ich im 2 Quartal 25 im PLZ-</a:t>
            </a:r>
            <a:r>
              <a:rPr lang="de-DE" dirty="0" err="1"/>
              <a:t>Gebit</a:t>
            </a:r>
            <a:r>
              <a:rPr lang="de-DE" dirty="0"/>
              <a:t> 50000 – 59999 aus dem Bereich Kosmetik verkauft</a:t>
            </a:r>
          </a:p>
        </p:txBody>
      </p:sp>
    </p:spTree>
    <p:extLst>
      <p:ext uri="{BB962C8B-B14F-4D97-AF65-F5344CB8AC3E}">
        <p14:creationId xmlns:p14="http://schemas.microsoft.com/office/powerpoint/2010/main" val="8719700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6E10A5-880F-C29A-1FCC-4319466DDE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D91DE332-7022-D879-3B73-C7422A90771F}"/>
              </a:ext>
            </a:extLst>
          </p:cNvPr>
          <p:cNvSpPr txBox="1"/>
          <p:nvPr/>
        </p:nvSpPr>
        <p:spPr>
          <a:xfrm>
            <a:off x="1448554" y="968721"/>
            <a:ext cx="42641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SELECT *</a:t>
            </a:r>
            <a:br>
              <a:rPr lang="de-DE" dirty="0"/>
            </a:br>
            <a:r>
              <a:rPr lang="de-DE" dirty="0"/>
              <a:t>FROM Artikel</a:t>
            </a:r>
          </a:p>
          <a:p>
            <a:r>
              <a:rPr lang="de-DE" dirty="0"/>
              <a:t>LEFT JOIN Artikelgruppe ON …;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BC390459-C0DF-52BD-49D0-120E61ABEA99}"/>
              </a:ext>
            </a:extLst>
          </p:cNvPr>
          <p:cNvSpPr txBox="1"/>
          <p:nvPr/>
        </p:nvSpPr>
        <p:spPr>
          <a:xfrm>
            <a:off x="6246890" y="959668"/>
            <a:ext cx="42641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SELECT Artikel.*, Artikelgruppe.*</a:t>
            </a:r>
            <a:br>
              <a:rPr lang="de-DE" dirty="0"/>
            </a:br>
            <a:r>
              <a:rPr lang="de-DE" dirty="0"/>
              <a:t>FROM Artikelgruppe</a:t>
            </a:r>
          </a:p>
          <a:p>
            <a:r>
              <a:rPr lang="de-DE" dirty="0"/>
              <a:t>RIGHT JOIN Artikel ON …;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F8CAC63A-1F5C-6EDC-8CC6-E1AC833944F7}"/>
              </a:ext>
            </a:extLst>
          </p:cNvPr>
          <p:cNvCxnSpPr/>
          <p:nvPr/>
        </p:nvCxnSpPr>
        <p:spPr>
          <a:xfrm>
            <a:off x="724277" y="2281473"/>
            <a:ext cx="10511073" cy="0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02EB0A41-52D5-FFC1-07E2-E337E09D3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4571"/>
              </p:ext>
            </p:extLst>
          </p:nvPr>
        </p:nvGraphicFramePr>
        <p:xfrm>
          <a:off x="1199082" y="2501900"/>
          <a:ext cx="6966855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5265">
                  <a:extLst>
                    <a:ext uri="{9D8B030D-6E8A-4147-A177-3AD203B41FA5}">
                      <a16:colId xmlns:a16="http://schemas.microsoft.com/office/drawing/2014/main" val="2137326425"/>
                    </a:ext>
                  </a:extLst>
                </a:gridCol>
                <a:gridCol w="995265">
                  <a:extLst>
                    <a:ext uri="{9D8B030D-6E8A-4147-A177-3AD203B41FA5}">
                      <a16:colId xmlns:a16="http://schemas.microsoft.com/office/drawing/2014/main" val="1789988096"/>
                    </a:ext>
                  </a:extLst>
                </a:gridCol>
                <a:gridCol w="995265">
                  <a:extLst>
                    <a:ext uri="{9D8B030D-6E8A-4147-A177-3AD203B41FA5}">
                      <a16:colId xmlns:a16="http://schemas.microsoft.com/office/drawing/2014/main" val="2041016393"/>
                    </a:ext>
                  </a:extLst>
                </a:gridCol>
                <a:gridCol w="995265">
                  <a:extLst>
                    <a:ext uri="{9D8B030D-6E8A-4147-A177-3AD203B41FA5}">
                      <a16:colId xmlns:a16="http://schemas.microsoft.com/office/drawing/2014/main" val="1635822542"/>
                    </a:ext>
                  </a:extLst>
                </a:gridCol>
                <a:gridCol w="995265">
                  <a:extLst>
                    <a:ext uri="{9D8B030D-6E8A-4147-A177-3AD203B41FA5}">
                      <a16:colId xmlns:a16="http://schemas.microsoft.com/office/drawing/2014/main" val="2614595239"/>
                    </a:ext>
                  </a:extLst>
                </a:gridCol>
                <a:gridCol w="995265">
                  <a:extLst>
                    <a:ext uri="{9D8B030D-6E8A-4147-A177-3AD203B41FA5}">
                      <a16:colId xmlns:a16="http://schemas.microsoft.com/office/drawing/2014/main" val="2294355436"/>
                    </a:ext>
                  </a:extLst>
                </a:gridCol>
                <a:gridCol w="995265">
                  <a:extLst>
                    <a:ext uri="{9D8B030D-6E8A-4147-A177-3AD203B41FA5}">
                      <a16:colId xmlns:a16="http://schemas.microsoft.com/office/drawing/2014/main" val="12485275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ATNR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Bez</a:t>
                      </a:r>
                      <a:endParaRPr lang="de-DE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Preis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änge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TGID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TGID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Bez</a:t>
                      </a:r>
                      <a:endParaRPr lang="de-DE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49093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1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1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2855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5042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91831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2567334"/>
                  </a:ext>
                </a:extLst>
              </a:tr>
            </a:tbl>
          </a:graphicData>
        </a:graphic>
      </p:graphicFrame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8B94B847-CE55-EC82-3C08-66F687F831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7180544"/>
              </p:ext>
            </p:extLst>
          </p:nvPr>
        </p:nvGraphicFramePr>
        <p:xfrm>
          <a:off x="1412126" y="4850604"/>
          <a:ext cx="6966855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5265">
                  <a:extLst>
                    <a:ext uri="{9D8B030D-6E8A-4147-A177-3AD203B41FA5}">
                      <a16:colId xmlns:a16="http://schemas.microsoft.com/office/drawing/2014/main" val="2137326425"/>
                    </a:ext>
                  </a:extLst>
                </a:gridCol>
                <a:gridCol w="995265">
                  <a:extLst>
                    <a:ext uri="{9D8B030D-6E8A-4147-A177-3AD203B41FA5}">
                      <a16:colId xmlns:a16="http://schemas.microsoft.com/office/drawing/2014/main" val="1789988096"/>
                    </a:ext>
                  </a:extLst>
                </a:gridCol>
                <a:gridCol w="995265">
                  <a:extLst>
                    <a:ext uri="{9D8B030D-6E8A-4147-A177-3AD203B41FA5}">
                      <a16:colId xmlns:a16="http://schemas.microsoft.com/office/drawing/2014/main" val="2041016393"/>
                    </a:ext>
                  </a:extLst>
                </a:gridCol>
                <a:gridCol w="995265">
                  <a:extLst>
                    <a:ext uri="{9D8B030D-6E8A-4147-A177-3AD203B41FA5}">
                      <a16:colId xmlns:a16="http://schemas.microsoft.com/office/drawing/2014/main" val="1635822542"/>
                    </a:ext>
                  </a:extLst>
                </a:gridCol>
                <a:gridCol w="995265">
                  <a:extLst>
                    <a:ext uri="{9D8B030D-6E8A-4147-A177-3AD203B41FA5}">
                      <a16:colId xmlns:a16="http://schemas.microsoft.com/office/drawing/2014/main" val="2614595239"/>
                    </a:ext>
                  </a:extLst>
                </a:gridCol>
                <a:gridCol w="995265">
                  <a:extLst>
                    <a:ext uri="{9D8B030D-6E8A-4147-A177-3AD203B41FA5}">
                      <a16:colId xmlns:a16="http://schemas.microsoft.com/office/drawing/2014/main" val="2294355436"/>
                    </a:ext>
                  </a:extLst>
                </a:gridCol>
                <a:gridCol w="995265">
                  <a:extLst>
                    <a:ext uri="{9D8B030D-6E8A-4147-A177-3AD203B41FA5}">
                      <a16:colId xmlns:a16="http://schemas.microsoft.com/office/drawing/2014/main" val="12485275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ATGID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Bez</a:t>
                      </a:r>
                      <a:endParaRPr lang="de-DE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TNR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Bez</a:t>
                      </a:r>
                      <a:endParaRPr lang="de-DE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Preis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änge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TGID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49093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2855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5042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234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Hütte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ULL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ULL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ULL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ULL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ULL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91831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2567334"/>
                  </a:ext>
                </a:extLst>
              </a:tr>
            </a:tbl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1A50366C-35E5-4208-9336-95BF320F16A7}"/>
              </a:ext>
            </a:extLst>
          </p:cNvPr>
          <p:cNvSpPr txBox="1"/>
          <p:nvPr/>
        </p:nvSpPr>
        <p:spPr>
          <a:xfrm>
            <a:off x="796704" y="4488342"/>
            <a:ext cx="89357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SELECT * FROM Artikelgruppe LEFT JOIN Artikel ON …..;</a:t>
            </a:r>
          </a:p>
        </p:txBody>
      </p:sp>
    </p:spTree>
    <p:extLst>
      <p:ext uri="{BB962C8B-B14F-4D97-AF65-F5344CB8AC3E}">
        <p14:creationId xmlns:p14="http://schemas.microsoft.com/office/powerpoint/2010/main" val="12787783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0BB1DB-DD34-2BD9-9C50-33668D3526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231FBFF6-8D99-8BDE-92E7-CA2C16F7757B}"/>
              </a:ext>
            </a:extLst>
          </p:cNvPr>
          <p:cNvSpPr txBox="1"/>
          <p:nvPr/>
        </p:nvSpPr>
        <p:spPr>
          <a:xfrm>
            <a:off x="568105" y="513412"/>
            <a:ext cx="1004255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Listen Sie die Bezeichnung, die Menge, den Preis und den Lieferanten aller Gerichte auf, welche die Zutat „Zucchini“ in der Menge 5-10 enthalten. Das Ergebnis soll absteigend nach der Menge und dann aufsteigend nach dem Preis sortiert sein. </a:t>
            </a:r>
            <a:endParaRPr lang="de-DE" dirty="0"/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BA48286B-B303-2B7C-AB77-638CDCD764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3054782"/>
              </p:ext>
            </p:extLst>
          </p:nvPr>
        </p:nvGraphicFramePr>
        <p:xfrm>
          <a:off x="568104" y="1699352"/>
          <a:ext cx="6068085" cy="1729645"/>
        </p:xfrm>
        <a:graphic>
          <a:graphicData uri="http://schemas.openxmlformats.org/drawingml/2006/table">
            <a:tbl>
              <a:tblPr/>
              <a:tblGrid>
                <a:gridCol w="1889330">
                  <a:extLst>
                    <a:ext uri="{9D8B030D-6E8A-4147-A177-3AD203B41FA5}">
                      <a16:colId xmlns:a16="http://schemas.microsoft.com/office/drawing/2014/main" val="575502713"/>
                    </a:ext>
                  </a:extLst>
                </a:gridCol>
                <a:gridCol w="1255849">
                  <a:extLst>
                    <a:ext uri="{9D8B030D-6E8A-4147-A177-3AD203B41FA5}">
                      <a16:colId xmlns:a16="http://schemas.microsoft.com/office/drawing/2014/main" val="4061020806"/>
                    </a:ext>
                  </a:extLst>
                </a:gridCol>
                <a:gridCol w="1044689">
                  <a:extLst>
                    <a:ext uri="{9D8B030D-6E8A-4147-A177-3AD203B41FA5}">
                      <a16:colId xmlns:a16="http://schemas.microsoft.com/office/drawing/2014/main" val="1622926638"/>
                    </a:ext>
                  </a:extLst>
                </a:gridCol>
                <a:gridCol w="1878217">
                  <a:extLst>
                    <a:ext uri="{9D8B030D-6E8A-4147-A177-3AD203B41FA5}">
                      <a16:colId xmlns:a16="http://schemas.microsoft.com/office/drawing/2014/main" val="1393270581"/>
                    </a:ext>
                  </a:extLst>
                </a:gridCol>
              </a:tblGrid>
              <a:tr h="345929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Bezeichnung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Menge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Preis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Hersteller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9447343"/>
                  </a:ext>
                </a:extLst>
              </a:tr>
              <a:tr h="345929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Zucchinisuppe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10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2,49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Me Gusta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2370246"/>
                  </a:ext>
                </a:extLst>
              </a:tr>
              <a:tr h="345929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Zucchinipuffer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8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3,19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Futtern wie bei Muttern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2276766"/>
                  </a:ext>
                </a:extLst>
              </a:tr>
              <a:tr h="345929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Ratatouille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5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3,99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Hungerfix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3710552"/>
                  </a:ext>
                </a:extLst>
              </a:tr>
              <a:tr h="345929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Zucchinilasagne 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5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>
                          <a:effectLst/>
                          <a:latin typeface="Calibri" panose="020F0502020204030204" pitchFamily="34" charset="0"/>
                        </a:rPr>
                        <a:t>4,99 </a:t>
                      </a:r>
                      <a:endParaRPr lang="de-DE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350"/>
                        </a:lnSpc>
                        <a:buNone/>
                      </a:pPr>
                      <a:r>
                        <a:rPr lang="de-DE" sz="1100" b="0" i="0" dirty="0">
                          <a:effectLst/>
                          <a:latin typeface="Calibri" panose="020F0502020204030204" pitchFamily="34" charset="0"/>
                        </a:rPr>
                        <a:t>Me </a:t>
                      </a:r>
                      <a:r>
                        <a:rPr lang="de-DE" sz="1100" b="0" i="0" dirty="0" err="1">
                          <a:effectLst/>
                          <a:latin typeface="Calibri" panose="020F0502020204030204" pitchFamily="34" charset="0"/>
                        </a:rPr>
                        <a:t>Gusta</a:t>
                      </a:r>
                      <a:r>
                        <a:rPr lang="de-DE" sz="1100" b="0" i="0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de-DE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6206562"/>
                  </a:ext>
                </a:extLst>
              </a:tr>
            </a:tbl>
          </a:graphicData>
        </a:graphic>
      </p:graphicFrame>
      <p:pic>
        <p:nvPicPr>
          <p:cNvPr id="5" name="Picture 2">
            <a:extLst>
              <a:ext uri="{FF2B5EF4-FFF2-40B4-BE49-F238E27FC236}">
                <a16:creationId xmlns:a16="http://schemas.microsoft.com/office/drawing/2014/main" id="{A67F69D9-4107-CC9F-18FC-F4277C8680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725" y="4587183"/>
            <a:ext cx="10007935" cy="158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6" name="Freihand 5">
                <a:extLst>
                  <a:ext uri="{FF2B5EF4-FFF2-40B4-BE49-F238E27FC236}">
                    <a16:creationId xmlns:a16="http://schemas.microsoft.com/office/drawing/2014/main" id="{0764BD4E-90FD-E718-575D-F277D425D3E0}"/>
                  </a:ext>
                </a:extLst>
              </p14:cNvPr>
              <p14:cNvContentPartPr/>
              <p14:nvPr/>
            </p14:nvContentPartPr>
            <p14:xfrm>
              <a:off x="915134" y="5358318"/>
              <a:ext cx="705240" cy="10440"/>
            </p14:xfrm>
          </p:contentPart>
        </mc:Choice>
        <mc:Fallback>
          <p:pic>
            <p:nvPicPr>
              <p:cNvPr id="6" name="Freihand 5">
                <a:extLst>
                  <a:ext uri="{FF2B5EF4-FFF2-40B4-BE49-F238E27FC236}">
                    <a16:creationId xmlns:a16="http://schemas.microsoft.com/office/drawing/2014/main" id="{0764BD4E-90FD-E718-575D-F277D425D3E0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61494" y="5250678"/>
                <a:ext cx="812880" cy="226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7" name="Freihand 6">
                <a:extLst>
                  <a:ext uri="{FF2B5EF4-FFF2-40B4-BE49-F238E27FC236}">
                    <a16:creationId xmlns:a16="http://schemas.microsoft.com/office/drawing/2014/main" id="{C40FFE13-0356-4BF0-700C-CEF6E6B4BBE9}"/>
                  </a:ext>
                </a:extLst>
              </p14:cNvPr>
              <p14:cNvContentPartPr/>
              <p14:nvPr/>
            </p14:nvContentPartPr>
            <p14:xfrm>
              <a:off x="3450254" y="5557758"/>
              <a:ext cx="723600" cy="11520"/>
            </p14:xfrm>
          </p:contentPart>
        </mc:Choice>
        <mc:Fallback>
          <p:pic>
            <p:nvPicPr>
              <p:cNvPr id="7" name="Freihand 6">
                <a:extLst>
                  <a:ext uri="{FF2B5EF4-FFF2-40B4-BE49-F238E27FC236}">
                    <a16:creationId xmlns:a16="http://schemas.microsoft.com/office/drawing/2014/main" id="{C40FFE13-0356-4BF0-700C-CEF6E6B4BBE9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396254" y="5449758"/>
                <a:ext cx="831240" cy="227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8" name="Freihand 7">
                <a:extLst>
                  <a:ext uri="{FF2B5EF4-FFF2-40B4-BE49-F238E27FC236}">
                    <a16:creationId xmlns:a16="http://schemas.microsoft.com/office/drawing/2014/main" id="{28AEE516-F744-3F03-699C-FB623D51CEDF}"/>
                  </a:ext>
                </a:extLst>
              </p14:cNvPr>
              <p14:cNvContentPartPr/>
              <p14:nvPr/>
            </p14:nvContentPartPr>
            <p14:xfrm>
              <a:off x="6084734" y="5015238"/>
              <a:ext cx="642240" cy="73080"/>
            </p14:xfrm>
          </p:contentPart>
        </mc:Choice>
        <mc:Fallback>
          <p:pic>
            <p:nvPicPr>
              <p:cNvPr id="8" name="Freihand 7">
                <a:extLst>
                  <a:ext uri="{FF2B5EF4-FFF2-40B4-BE49-F238E27FC236}">
                    <a16:creationId xmlns:a16="http://schemas.microsoft.com/office/drawing/2014/main" id="{28AEE516-F744-3F03-699C-FB623D51CEDF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031094" y="4907238"/>
                <a:ext cx="749880" cy="288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">
            <p14:nvContentPartPr>
              <p14:cNvPr id="9" name="Freihand 8">
                <a:extLst>
                  <a:ext uri="{FF2B5EF4-FFF2-40B4-BE49-F238E27FC236}">
                    <a16:creationId xmlns:a16="http://schemas.microsoft.com/office/drawing/2014/main" id="{FD391DBD-BBF4-664E-F76D-32AC07825AAC}"/>
                  </a:ext>
                </a:extLst>
              </p14:cNvPr>
              <p14:cNvContentPartPr/>
              <p14:nvPr/>
            </p14:nvContentPartPr>
            <p14:xfrm>
              <a:off x="8772494" y="5322678"/>
              <a:ext cx="578520" cy="28080"/>
            </p14:xfrm>
          </p:contentPart>
        </mc:Choice>
        <mc:Fallback>
          <p:pic>
            <p:nvPicPr>
              <p:cNvPr id="9" name="Freihand 8">
                <a:extLst>
                  <a:ext uri="{FF2B5EF4-FFF2-40B4-BE49-F238E27FC236}">
                    <a16:creationId xmlns:a16="http://schemas.microsoft.com/office/drawing/2014/main" id="{FD391DBD-BBF4-664E-F76D-32AC07825AAC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8718854" y="5215038"/>
                <a:ext cx="686160" cy="243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">
            <p14:nvContentPartPr>
              <p14:cNvPr id="10" name="Freihand 9">
                <a:extLst>
                  <a:ext uri="{FF2B5EF4-FFF2-40B4-BE49-F238E27FC236}">
                    <a16:creationId xmlns:a16="http://schemas.microsoft.com/office/drawing/2014/main" id="{6E07AE9C-8F33-E818-96D7-53D8AB1D758E}"/>
                  </a:ext>
                </a:extLst>
              </p14:cNvPr>
              <p14:cNvContentPartPr/>
              <p14:nvPr/>
            </p14:nvContentPartPr>
            <p14:xfrm>
              <a:off x="6193454" y="5612838"/>
              <a:ext cx="533520" cy="360"/>
            </p14:xfrm>
          </p:contentPart>
        </mc:Choice>
        <mc:Fallback>
          <p:pic>
            <p:nvPicPr>
              <p:cNvPr id="10" name="Freihand 9">
                <a:extLst>
                  <a:ext uri="{FF2B5EF4-FFF2-40B4-BE49-F238E27FC236}">
                    <a16:creationId xmlns:a16="http://schemas.microsoft.com/office/drawing/2014/main" id="{6E07AE9C-8F33-E818-96D7-53D8AB1D758E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6139454" y="5505198"/>
                <a:ext cx="641160" cy="216000"/>
              </a:xfrm>
              <a:prstGeom prst="rect">
                <a:avLst/>
              </a:prstGeom>
            </p:spPr>
          </p:pic>
        </mc:Fallback>
      </mc:AlternateContent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F838CDDE-0D49-BCC4-7387-4111F0F591FA}"/>
              </a:ext>
            </a:extLst>
          </p:cNvPr>
          <p:cNvGrpSpPr/>
          <p:nvPr/>
        </p:nvGrpSpPr>
        <p:grpSpPr>
          <a:xfrm>
            <a:off x="5241974" y="4581745"/>
            <a:ext cx="689400" cy="315000"/>
            <a:chOff x="5241974" y="4581745"/>
            <a:chExt cx="689400" cy="3150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3">
              <p14:nvContentPartPr>
                <p14:cNvPr id="11" name="Freihand 10">
                  <a:extLst>
                    <a:ext uri="{FF2B5EF4-FFF2-40B4-BE49-F238E27FC236}">
                      <a16:creationId xmlns:a16="http://schemas.microsoft.com/office/drawing/2014/main" id="{86D5130C-CD67-04C0-374E-D3F98F510692}"/>
                    </a:ext>
                  </a:extLst>
                </p14:cNvPr>
                <p14:cNvContentPartPr/>
                <p14:nvPr/>
              </p14:nvContentPartPr>
              <p14:xfrm>
                <a:off x="5712854" y="4614505"/>
                <a:ext cx="218520" cy="240120"/>
              </p14:xfrm>
            </p:contentPart>
          </mc:Choice>
          <mc:Fallback>
            <p:pic>
              <p:nvPicPr>
                <p:cNvPr id="11" name="Freihand 10">
                  <a:extLst>
                    <a:ext uri="{FF2B5EF4-FFF2-40B4-BE49-F238E27FC236}">
                      <a16:creationId xmlns:a16="http://schemas.microsoft.com/office/drawing/2014/main" id="{86D5130C-CD67-04C0-374E-D3F98F510692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5694854" y="4596865"/>
                  <a:ext cx="254160" cy="275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">
              <p14:nvContentPartPr>
                <p14:cNvPr id="12" name="Freihand 11">
                  <a:extLst>
                    <a:ext uri="{FF2B5EF4-FFF2-40B4-BE49-F238E27FC236}">
                      <a16:creationId xmlns:a16="http://schemas.microsoft.com/office/drawing/2014/main" id="{75482478-99C6-F3D6-B211-4577E9148B91}"/>
                    </a:ext>
                  </a:extLst>
                </p14:cNvPr>
                <p14:cNvContentPartPr/>
                <p14:nvPr/>
              </p14:nvContentPartPr>
              <p14:xfrm>
                <a:off x="5241974" y="4581745"/>
                <a:ext cx="308160" cy="315000"/>
              </p14:xfrm>
            </p:contentPart>
          </mc:Choice>
          <mc:Fallback>
            <p:pic>
              <p:nvPicPr>
                <p:cNvPr id="12" name="Freihand 11">
                  <a:extLst>
                    <a:ext uri="{FF2B5EF4-FFF2-40B4-BE49-F238E27FC236}">
                      <a16:creationId xmlns:a16="http://schemas.microsoft.com/office/drawing/2014/main" id="{75482478-99C6-F3D6-B211-4577E9148B91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5223974" y="4564105"/>
                  <a:ext cx="343800" cy="3506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17">
            <p14:nvContentPartPr>
              <p14:cNvPr id="14" name="Freihand 13">
                <a:extLst>
                  <a:ext uri="{FF2B5EF4-FFF2-40B4-BE49-F238E27FC236}">
                    <a16:creationId xmlns:a16="http://schemas.microsoft.com/office/drawing/2014/main" id="{3543BABA-ADE7-15D4-6F0E-E418A8919BF1}"/>
                  </a:ext>
                </a:extLst>
              </p14:cNvPr>
              <p14:cNvContentPartPr/>
              <p14:nvPr/>
            </p14:nvContentPartPr>
            <p14:xfrm>
              <a:off x="6453014" y="4490305"/>
              <a:ext cx="1008720" cy="516960"/>
            </p14:xfrm>
          </p:contentPart>
        </mc:Choice>
        <mc:Fallback>
          <p:pic>
            <p:nvPicPr>
              <p:cNvPr id="14" name="Freihand 13">
                <a:extLst>
                  <a:ext uri="{FF2B5EF4-FFF2-40B4-BE49-F238E27FC236}">
                    <a16:creationId xmlns:a16="http://schemas.microsoft.com/office/drawing/2014/main" id="{3543BABA-ADE7-15D4-6F0E-E418A8919BF1}"/>
                  </a:ext>
                </a:extLst>
              </p:cNvPr>
              <p:cNvPicPr/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6435014" y="4472305"/>
                <a:ext cx="1044360" cy="5526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701085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A21EC6-40F5-9B26-A2E2-9DFFB7112A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7590C8E5-6920-5143-91D9-D002A8824269}"/>
              </a:ext>
            </a:extLst>
          </p:cNvPr>
          <p:cNvSpPr txBox="1"/>
          <p:nvPr/>
        </p:nvSpPr>
        <p:spPr>
          <a:xfrm>
            <a:off x="1222219" y="1276539"/>
            <a:ext cx="718845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SELECT </a:t>
            </a:r>
            <a:r>
              <a:rPr lang="de-DE" dirty="0" err="1">
                <a:highlight>
                  <a:srgbClr val="00FFFF"/>
                </a:highlight>
              </a:rPr>
              <a:t>Z.Bezeichnung</a:t>
            </a:r>
            <a:r>
              <a:rPr lang="de-DE" dirty="0">
                <a:highlight>
                  <a:srgbClr val="00FFFF"/>
                </a:highlight>
              </a:rPr>
              <a:t>, </a:t>
            </a:r>
            <a:r>
              <a:rPr lang="de-DE" dirty="0" err="1">
                <a:highlight>
                  <a:srgbClr val="00FFFF"/>
                </a:highlight>
              </a:rPr>
              <a:t>ZG.Menge</a:t>
            </a:r>
            <a:r>
              <a:rPr lang="de-DE" dirty="0">
                <a:highlight>
                  <a:srgbClr val="00FFFF"/>
                </a:highlight>
              </a:rPr>
              <a:t>, </a:t>
            </a:r>
            <a:r>
              <a:rPr lang="de-DE" dirty="0" err="1">
                <a:highlight>
                  <a:srgbClr val="00FFFF"/>
                </a:highlight>
              </a:rPr>
              <a:t>G.Preis</a:t>
            </a:r>
            <a:r>
              <a:rPr lang="de-DE" dirty="0">
                <a:highlight>
                  <a:srgbClr val="00FFFF"/>
                </a:highlight>
              </a:rPr>
              <a:t>, </a:t>
            </a:r>
            <a:r>
              <a:rPr lang="de-DE" dirty="0" err="1">
                <a:highlight>
                  <a:srgbClr val="00FFFF"/>
                </a:highlight>
              </a:rPr>
              <a:t>L.Name</a:t>
            </a:r>
            <a:r>
              <a:rPr lang="de-DE" dirty="0">
                <a:highlight>
                  <a:srgbClr val="00FFFF"/>
                </a:highlight>
              </a:rPr>
              <a:t> AS Hersteller</a:t>
            </a:r>
          </a:p>
          <a:p>
            <a:r>
              <a:rPr lang="de-DE" dirty="0"/>
              <a:t>FROM ZUTAT AS Z, </a:t>
            </a:r>
            <a:r>
              <a:rPr lang="de-DE" dirty="0" err="1"/>
              <a:t>Zutat_Gericht</a:t>
            </a:r>
            <a:r>
              <a:rPr lang="de-DE" dirty="0"/>
              <a:t> AS ZG, Gericht AS G, Lieferant AS L</a:t>
            </a:r>
          </a:p>
          <a:p>
            <a:r>
              <a:rPr lang="de-DE" dirty="0">
                <a:highlight>
                  <a:srgbClr val="FFFF00"/>
                </a:highlight>
              </a:rPr>
              <a:t>WHERE </a:t>
            </a:r>
            <a:r>
              <a:rPr lang="de-DE" dirty="0" err="1">
                <a:highlight>
                  <a:srgbClr val="FFFF00"/>
                </a:highlight>
              </a:rPr>
              <a:t>Z.ZutatID</a:t>
            </a:r>
            <a:r>
              <a:rPr lang="de-DE" dirty="0">
                <a:highlight>
                  <a:srgbClr val="FFFF00"/>
                </a:highlight>
              </a:rPr>
              <a:t> = </a:t>
            </a:r>
            <a:r>
              <a:rPr lang="de-DE" dirty="0" err="1">
                <a:highlight>
                  <a:srgbClr val="FFFF00"/>
                </a:highlight>
              </a:rPr>
              <a:t>ZG.ZutatID</a:t>
            </a:r>
            <a:endParaRPr lang="de-DE" dirty="0">
              <a:highlight>
                <a:srgbClr val="FFFF00"/>
              </a:highlight>
            </a:endParaRPr>
          </a:p>
          <a:p>
            <a:r>
              <a:rPr lang="de-DE" dirty="0">
                <a:highlight>
                  <a:srgbClr val="FFFF00"/>
                </a:highlight>
              </a:rPr>
              <a:t>AND </a:t>
            </a:r>
            <a:r>
              <a:rPr lang="de-DE" dirty="0" err="1">
                <a:highlight>
                  <a:srgbClr val="FFFF00"/>
                </a:highlight>
              </a:rPr>
              <a:t>ZG.GerichtId</a:t>
            </a:r>
            <a:r>
              <a:rPr lang="de-DE" dirty="0">
                <a:highlight>
                  <a:srgbClr val="FFFF00"/>
                </a:highlight>
              </a:rPr>
              <a:t> = </a:t>
            </a:r>
            <a:r>
              <a:rPr lang="de-DE" dirty="0" err="1">
                <a:highlight>
                  <a:srgbClr val="FFFF00"/>
                </a:highlight>
              </a:rPr>
              <a:t>G.GerichtID</a:t>
            </a:r>
            <a:endParaRPr lang="de-DE" dirty="0">
              <a:highlight>
                <a:srgbClr val="FFFF00"/>
              </a:highlight>
            </a:endParaRPr>
          </a:p>
          <a:p>
            <a:r>
              <a:rPr lang="de-DE" dirty="0">
                <a:highlight>
                  <a:srgbClr val="FFFF00"/>
                </a:highlight>
              </a:rPr>
              <a:t>AND </a:t>
            </a:r>
            <a:r>
              <a:rPr lang="de-DE" dirty="0" err="1">
                <a:highlight>
                  <a:srgbClr val="FFFF00"/>
                </a:highlight>
              </a:rPr>
              <a:t>G.LieferantID</a:t>
            </a:r>
            <a:r>
              <a:rPr lang="de-DE" dirty="0">
                <a:highlight>
                  <a:srgbClr val="FFFF00"/>
                </a:highlight>
              </a:rPr>
              <a:t> = </a:t>
            </a:r>
            <a:r>
              <a:rPr lang="de-DE" dirty="0" err="1">
                <a:highlight>
                  <a:srgbClr val="FFFF00"/>
                </a:highlight>
              </a:rPr>
              <a:t>L.LieferantID</a:t>
            </a:r>
            <a:endParaRPr lang="de-DE" dirty="0">
              <a:highlight>
                <a:srgbClr val="FFFF00"/>
              </a:highlight>
            </a:endParaRPr>
          </a:p>
          <a:p>
            <a:r>
              <a:rPr lang="de-DE" dirty="0">
                <a:highlight>
                  <a:srgbClr val="00FF00"/>
                </a:highlight>
              </a:rPr>
              <a:t>AND </a:t>
            </a:r>
            <a:r>
              <a:rPr lang="de-DE" dirty="0" err="1">
                <a:highlight>
                  <a:srgbClr val="00FF00"/>
                </a:highlight>
              </a:rPr>
              <a:t>ZG.Menge</a:t>
            </a:r>
            <a:r>
              <a:rPr lang="de-DE" dirty="0">
                <a:highlight>
                  <a:srgbClr val="00FF00"/>
                </a:highlight>
              </a:rPr>
              <a:t> BETWEEN 5 AND 10</a:t>
            </a:r>
          </a:p>
          <a:p>
            <a:r>
              <a:rPr lang="de-DE" dirty="0">
                <a:highlight>
                  <a:srgbClr val="00FF00"/>
                </a:highlight>
              </a:rPr>
              <a:t>AND </a:t>
            </a:r>
            <a:r>
              <a:rPr lang="de-DE" dirty="0" err="1">
                <a:highlight>
                  <a:srgbClr val="00FF00"/>
                </a:highlight>
              </a:rPr>
              <a:t>Z.Bezeichnung</a:t>
            </a:r>
            <a:r>
              <a:rPr lang="de-DE" dirty="0">
                <a:highlight>
                  <a:srgbClr val="00FF00"/>
                </a:highlight>
              </a:rPr>
              <a:t> = ‘Zucchini‘</a:t>
            </a:r>
          </a:p>
          <a:p>
            <a:r>
              <a:rPr lang="de-DE" dirty="0"/>
              <a:t>ORDER BY </a:t>
            </a:r>
            <a:r>
              <a:rPr lang="de-DE" dirty="0" err="1"/>
              <a:t>ZG.Menge</a:t>
            </a:r>
            <a:r>
              <a:rPr lang="de-DE" dirty="0"/>
              <a:t> DESC, </a:t>
            </a:r>
            <a:r>
              <a:rPr lang="de-DE" dirty="0" err="1"/>
              <a:t>G.Preis</a:t>
            </a:r>
            <a:r>
              <a:rPr lang="de-DE" dirty="0"/>
              <a:t> ASC;</a:t>
            </a:r>
          </a:p>
        </p:txBody>
      </p:sp>
    </p:spTree>
    <p:extLst>
      <p:ext uri="{BB962C8B-B14F-4D97-AF65-F5344CB8AC3E}">
        <p14:creationId xmlns:p14="http://schemas.microsoft.com/office/powerpoint/2010/main" val="27104223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5479EE-B38B-A89F-C3D3-FA46704AE4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D957B0C3-BF71-D8D7-75DB-EB128006F61F}"/>
              </a:ext>
            </a:extLst>
          </p:cNvPr>
          <p:cNvSpPr txBox="1"/>
          <p:nvPr/>
        </p:nvSpPr>
        <p:spPr>
          <a:xfrm>
            <a:off x="1192794" y="515415"/>
            <a:ext cx="9780006" cy="8727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>
              <a:lnSpc>
                <a:spcPts val="1457"/>
              </a:lnSpc>
            </a:pPr>
            <a:r>
              <a:rPr lang="de-DE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Listen Sie alle Gerichte mit der ID und der Eigenschaft auf, ob diese vegan sind oder nicht.</a:t>
            </a:r>
            <a:r>
              <a:rPr lang="de-DE" sz="1800" b="0" i="0" dirty="0">
                <a:solidFill>
                  <a:srgbClr val="000000"/>
                </a:solidFill>
                <a:effectLst/>
                <a:latin typeface="WordVisiCarriageReturn_MSFontService"/>
              </a:rPr>
              <a:t> </a:t>
            </a:r>
            <a:br>
              <a:rPr lang="de-DE" sz="1800" b="0" i="0" dirty="0">
                <a:solidFill>
                  <a:srgbClr val="000000"/>
                </a:solidFill>
                <a:effectLst/>
                <a:latin typeface="WordVisiCarriageReturn_MSFontService"/>
              </a:rPr>
            </a:br>
            <a:r>
              <a:rPr lang="de-DE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 soll so sortiert sein, dass das teuerste Gericht zuerst angezeigt wird.</a:t>
            </a:r>
            <a:r>
              <a:rPr lang="de-DE" sz="1800" b="0" i="0" dirty="0">
                <a:solidFill>
                  <a:srgbClr val="000000"/>
                </a:solidFill>
                <a:effectLst/>
                <a:latin typeface="WordVisiCarriageReturn_MSFontService"/>
              </a:rPr>
              <a:t> </a:t>
            </a:r>
            <a:br>
              <a:rPr lang="de-DE" sz="1800" b="0" i="0" dirty="0">
                <a:solidFill>
                  <a:srgbClr val="000000"/>
                </a:solidFill>
                <a:effectLst/>
                <a:latin typeface="WordVisiCarriageReturn_MSFontService"/>
              </a:rPr>
            </a:br>
            <a:r>
              <a:rPr lang="de-DE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 sollen nur Gerichte angezeigt werden, die teurer als der Durchschnitt aller Gerichte sind </a:t>
            </a:r>
          </a:p>
          <a:p>
            <a:pPr algn="l" rtl="0" fontAlgn="base">
              <a:lnSpc>
                <a:spcPts val="1457"/>
              </a:lnSpc>
              <a:buNone/>
            </a:pPr>
            <a:r>
              <a:rPr lang="de-DE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E368A0D-87E5-80DD-44E2-8EC6C1EA7251}"/>
              </a:ext>
            </a:extLst>
          </p:cNvPr>
          <p:cNvSpPr txBox="1"/>
          <p:nvPr/>
        </p:nvSpPr>
        <p:spPr>
          <a:xfrm>
            <a:off x="1430448" y="2046083"/>
            <a:ext cx="575800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SELECT </a:t>
            </a:r>
            <a:r>
              <a:rPr lang="de-DE" dirty="0" err="1"/>
              <a:t>GerichtID</a:t>
            </a:r>
            <a:r>
              <a:rPr lang="de-DE" dirty="0"/>
              <a:t>, vegan </a:t>
            </a:r>
            <a:br>
              <a:rPr lang="de-DE" dirty="0"/>
            </a:br>
            <a:r>
              <a:rPr lang="de-DE" dirty="0"/>
              <a:t>FROM Gericht</a:t>
            </a:r>
          </a:p>
          <a:p>
            <a:r>
              <a:rPr lang="de-DE" dirty="0"/>
              <a:t>WHERE Preis &gt; (SELECT AVG(Preis) FROM Gericht)</a:t>
            </a:r>
          </a:p>
          <a:p>
            <a:r>
              <a:rPr lang="de-DE" dirty="0"/>
              <a:t>ORDER BY Preis DESC;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2">
            <p14:nvContentPartPr>
              <p14:cNvPr id="5" name="Freihand 4">
                <a:extLst>
                  <a:ext uri="{FF2B5EF4-FFF2-40B4-BE49-F238E27FC236}">
                    <a16:creationId xmlns:a16="http://schemas.microsoft.com/office/drawing/2014/main" id="{AFDDA1E3-A03E-2B19-7AE2-CD57E10E85DA}"/>
                  </a:ext>
                </a:extLst>
              </p14:cNvPr>
              <p14:cNvContentPartPr/>
              <p14:nvPr/>
            </p14:nvContentPartPr>
            <p14:xfrm>
              <a:off x="4173494" y="840985"/>
              <a:ext cx="3046680" cy="28440"/>
            </p14:xfrm>
          </p:contentPart>
        </mc:Choice>
        <mc:Fallback>
          <p:pic>
            <p:nvPicPr>
              <p:cNvPr id="5" name="Freihand 4">
                <a:extLst>
                  <a:ext uri="{FF2B5EF4-FFF2-40B4-BE49-F238E27FC236}">
                    <a16:creationId xmlns:a16="http://schemas.microsoft.com/office/drawing/2014/main" id="{AFDDA1E3-A03E-2B19-7AE2-CD57E10E85DA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119854" y="732985"/>
                <a:ext cx="3154320" cy="244080"/>
              </a:xfrm>
              <a:prstGeom prst="rect">
                <a:avLst/>
              </a:prstGeom>
            </p:spPr>
          </p:pic>
        </mc:Fallback>
      </mc:AlternateContent>
      <p:sp>
        <p:nvSpPr>
          <p:cNvPr id="7" name="Textfeld 6">
            <a:extLst>
              <a:ext uri="{FF2B5EF4-FFF2-40B4-BE49-F238E27FC236}">
                <a16:creationId xmlns:a16="http://schemas.microsoft.com/office/drawing/2014/main" id="{6AE3EF1E-DDA7-9A24-8713-C9240B1A85B3}"/>
              </a:ext>
            </a:extLst>
          </p:cNvPr>
          <p:cNvSpPr txBox="1"/>
          <p:nvPr/>
        </p:nvSpPr>
        <p:spPr>
          <a:xfrm>
            <a:off x="1036623" y="3429000"/>
            <a:ext cx="92390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Listen Sie alle Gerichte mit ID und Bezeichnung auf, deren Zutaten noch nicht erfasst wurden. 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8AAAA207-99A2-D219-91EB-2EE2C52D6B64}"/>
              </a:ext>
            </a:extLst>
          </p:cNvPr>
          <p:cNvSpPr txBox="1"/>
          <p:nvPr/>
        </p:nvSpPr>
        <p:spPr>
          <a:xfrm>
            <a:off x="1430448" y="4173648"/>
            <a:ext cx="537775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SELECT </a:t>
            </a:r>
            <a:r>
              <a:rPr lang="de-DE" dirty="0" err="1"/>
              <a:t>G.GerichtID</a:t>
            </a:r>
            <a:r>
              <a:rPr lang="de-DE" dirty="0"/>
              <a:t>, G. Bezeichnung</a:t>
            </a:r>
            <a:br>
              <a:rPr lang="de-DE" dirty="0"/>
            </a:br>
            <a:r>
              <a:rPr lang="de-DE" dirty="0"/>
              <a:t>FROM Gericht AS G</a:t>
            </a:r>
          </a:p>
          <a:p>
            <a:r>
              <a:rPr lang="de-DE" dirty="0"/>
              <a:t>LEFT JOIN </a:t>
            </a:r>
            <a:r>
              <a:rPr lang="de-DE" dirty="0" err="1"/>
              <a:t>Zutat_Gericht</a:t>
            </a:r>
            <a:r>
              <a:rPr lang="de-DE" dirty="0"/>
              <a:t> AS ZG</a:t>
            </a:r>
          </a:p>
          <a:p>
            <a:r>
              <a:rPr lang="de-DE" dirty="0"/>
              <a:t>ON </a:t>
            </a:r>
            <a:r>
              <a:rPr lang="de-DE" dirty="0" err="1"/>
              <a:t>ZG.GerichtID</a:t>
            </a:r>
            <a:r>
              <a:rPr lang="de-DE" dirty="0"/>
              <a:t> = </a:t>
            </a:r>
            <a:r>
              <a:rPr lang="de-DE" dirty="0" err="1"/>
              <a:t>G.GerichtID</a:t>
            </a:r>
            <a:endParaRPr lang="de-DE" dirty="0"/>
          </a:p>
          <a:p>
            <a:r>
              <a:rPr lang="de-DE" dirty="0"/>
              <a:t>WHERE </a:t>
            </a:r>
            <a:r>
              <a:rPr lang="de-DE" dirty="0" err="1"/>
              <a:t>ZG.GerichtID</a:t>
            </a:r>
            <a:r>
              <a:rPr lang="de-DE" dirty="0"/>
              <a:t> IS NULL;</a:t>
            </a:r>
          </a:p>
        </p:txBody>
      </p:sp>
    </p:spTree>
    <p:extLst>
      <p:ext uri="{BB962C8B-B14F-4D97-AF65-F5344CB8AC3E}">
        <p14:creationId xmlns:p14="http://schemas.microsoft.com/office/powerpoint/2010/main" val="4598924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19A363-EC3C-B1BC-5358-DA9AC76943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7D925F0B-D2BB-14BF-E37E-41094E38A45B}"/>
              </a:ext>
            </a:extLst>
          </p:cNvPr>
          <p:cNvSpPr txBox="1"/>
          <p:nvPr/>
        </p:nvSpPr>
        <p:spPr>
          <a:xfrm>
            <a:off x="1274275" y="1260277"/>
            <a:ext cx="6151828" cy="18364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>
              <a:lnSpc>
                <a:spcPts val="1457"/>
              </a:lnSpc>
            </a:pPr>
            <a:r>
              <a:rPr lang="de-DE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Fügen Sie das folgende Gericht hinzu: </a:t>
            </a:r>
          </a:p>
          <a:p>
            <a:pPr algn="l" rtl="0" fontAlgn="base">
              <a:lnSpc>
                <a:spcPts val="1457"/>
              </a:lnSpc>
            </a:pPr>
            <a:endParaRPr lang="de-DE" sz="18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algn="l" rtl="0" fontAlgn="base">
              <a:lnSpc>
                <a:spcPts val="1457"/>
              </a:lnSpc>
              <a:buFont typeface="Arial" panose="020B0604020202020204" pitchFamily="34" charset="0"/>
              <a:buChar char="•"/>
            </a:pPr>
            <a:r>
              <a:rPr lang="de-DE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ezeichnung: Grillhahn (ID: 58) </a:t>
            </a:r>
          </a:p>
          <a:p>
            <a:pPr algn="l" rtl="0" fontAlgn="base">
              <a:lnSpc>
                <a:spcPts val="1457"/>
              </a:lnSpc>
              <a:buFont typeface="Arial" panose="020B0604020202020204" pitchFamily="34" charset="0"/>
              <a:buChar char="•"/>
            </a:pPr>
            <a:r>
              <a:rPr lang="de-DE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reis: 6,99 </a:t>
            </a:r>
          </a:p>
          <a:p>
            <a:pPr algn="l" rtl="0" fontAlgn="base">
              <a:lnSpc>
                <a:spcPts val="1457"/>
              </a:lnSpc>
              <a:buFont typeface="Arial" panose="020B0604020202020204" pitchFamily="34" charset="0"/>
              <a:buChar char="•"/>
            </a:pPr>
            <a:r>
              <a:rPr lang="de-DE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Vegan: Nein </a:t>
            </a:r>
          </a:p>
          <a:p>
            <a:pPr algn="l" rtl="0" fontAlgn="base">
              <a:lnSpc>
                <a:spcPts val="1457"/>
              </a:lnSpc>
              <a:buFont typeface="Arial" panose="020B0604020202020204" pitchFamily="34" charset="0"/>
              <a:buChar char="•"/>
            </a:pPr>
            <a:r>
              <a:rPr lang="de-DE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Lieferant: Me </a:t>
            </a:r>
            <a:r>
              <a:rPr lang="de-DE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Gusta</a:t>
            </a:r>
            <a:r>
              <a:rPr lang="de-DE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(ID: 3) </a:t>
            </a:r>
          </a:p>
          <a:p>
            <a:pPr algn="l" rtl="0" fontAlgn="base">
              <a:lnSpc>
                <a:spcPts val="1457"/>
              </a:lnSpc>
              <a:buFont typeface="Arial" panose="020B0604020202020204" pitchFamily="34" charset="0"/>
              <a:buChar char="•"/>
            </a:pPr>
            <a:r>
              <a:rPr lang="de-DE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Zutaten:  </a:t>
            </a:r>
          </a:p>
          <a:p>
            <a:pPr lvl="1" fontAlgn="base">
              <a:lnSpc>
                <a:spcPts val="1457"/>
              </a:lnSpc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 x ganzes Hähnchen (ID noch nicht vorhanden) </a:t>
            </a:r>
          </a:p>
          <a:p>
            <a:pPr lvl="1" fontAlgn="base">
              <a:lnSpc>
                <a:spcPts val="1457"/>
              </a:lnSpc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5 x </a:t>
            </a:r>
            <a:r>
              <a:rPr lang="de-DE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ommesgewürz</a:t>
            </a:r>
            <a:r>
              <a:rPr lang="de-DE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(ID: 24) 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03AFBEF9-EF8B-1DEF-8D24-A59CC44CA7D0}"/>
              </a:ext>
            </a:extLst>
          </p:cNvPr>
          <p:cNvSpPr txBox="1"/>
          <p:nvPr/>
        </p:nvSpPr>
        <p:spPr>
          <a:xfrm>
            <a:off x="860079" y="3503691"/>
            <a:ext cx="602055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INSERT INTO Zutat (Bezeichnung)</a:t>
            </a:r>
          </a:p>
          <a:p>
            <a:r>
              <a:rPr lang="de-DE" dirty="0"/>
              <a:t>VALUES(‘ganzes Hähnchen‘);</a:t>
            </a:r>
          </a:p>
          <a:p>
            <a:r>
              <a:rPr lang="de-DE" dirty="0"/>
              <a:t>SELECT </a:t>
            </a:r>
            <a:r>
              <a:rPr lang="de-DE" dirty="0" err="1"/>
              <a:t>ZutatID</a:t>
            </a:r>
            <a:r>
              <a:rPr lang="de-DE" dirty="0"/>
              <a:t> </a:t>
            </a:r>
          </a:p>
          <a:p>
            <a:r>
              <a:rPr lang="de-DE" dirty="0"/>
              <a:t>FROM Zutat </a:t>
            </a:r>
          </a:p>
          <a:p>
            <a:r>
              <a:rPr lang="de-DE" dirty="0"/>
              <a:t>WHERE Bezeichnung = ‘ganzes Hähnchen‘;</a:t>
            </a:r>
          </a:p>
          <a:p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9FD0AF8-A318-F6B0-AE0E-C8A05C7E6116}"/>
              </a:ext>
            </a:extLst>
          </p:cNvPr>
          <p:cNvSpPr txBox="1"/>
          <p:nvPr/>
        </p:nvSpPr>
        <p:spPr>
          <a:xfrm>
            <a:off x="4177420" y="5359714"/>
            <a:ext cx="715450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INSERT INTO Gericht (</a:t>
            </a:r>
            <a:r>
              <a:rPr lang="de-DE" dirty="0" err="1"/>
              <a:t>GerichtID</a:t>
            </a:r>
            <a:r>
              <a:rPr lang="de-DE" dirty="0"/>
              <a:t>, Bezeichnung, Preis, vegan, </a:t>
            </a:r>
            <a:r>
              <a:rPr lang="de-DE" dirty="0" err="1"/>
              <a:t>LieferantID</a:t>
            </a:r>
            <a:r>
              <a:rPr lang="de-DE" dirty="0"/>
              <a:t>)</a:t>
            </a:r>
          </a:p>
          <a:p>
            <a:r>
              <a:rPr lang="de-DE" dirty="0"/>
              <a:t>VALUES(58, ‘Grillhahn‘, 6.99, ‘Nein‘, 3);</a:t>
            </a:r>
          </a:p>
        </p:txBody>
      </p:sp>
    </p:spTree>
    <p:extLst>
      <p:ext uri="{BB962C8B-B14F-4D97-AF65-F5344CB8AC3E}">
        <p14:creationId xmlns:p14="http://schemas.microsoft.com/office/powerpoint/2010/main" val="18897967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83824E-1E7C-1EEC-2863-D6A7F80F92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683226EB-1EEA-723F-27B7-90A06E0AD6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0440" y="118600"/>
            <a:ext cx="9631119" cy="6620799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135E22F8-53CB-52F3-EC4E-C2AB6B4126DE}"/>
              </a:ext>
            </a:extLst>
          </p:cNvPr>
          <p:cNvSpPr txBox="1"/>
          <p:nvPr/>
        </p:nvSpPr>
        <p:spPr>
          <a:xfrm>
            <a:off x="220436" y="873579"/>
            <a:ext cx="5306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S23</a:t>
            </a:r>
          </a:p>
        </p:txBody>
      </p:sp>
    </p:spTree>
    <p:extLst>
      <p:ext uri="{BB962C8B-B14F-4D97-AF65-F5344CB8AC3E}">
        <p14:creationId xmlns:p14="http://schemas.microsoft.com/office/powerpoint/2010/main" val="18101736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667F46-BFAE-1135-C38C-B9D60DB0F7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A7C2F028-98BC-B29D-1E47-2ED2AE720610}"/>
              </a:ext>
            </a:extLst>
          </p:cNvPr>
          <p:cNvSpPr txBox="1"/>
          <p:nvPr/>
        </p:nvSpPr>
        <p:spPr>
          <a:xfrm>
            <a:off x="896293" y="1004935"/>
            <a:ext cx="872754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INSERT INTO </a:t>
            </a:r>
            <a:r>
              <a:rPr lang="de-DE" dirty="0" err="1"/>
              <a:t>Zutat_Gericht</a:t>
            </a:r>
            <a:r>
              <a:rPr lang="de-DE" dirty="0"/>
              <a:t> (</a:t>
            </a:r>
            <a:r>
              <a:rPr lang="de-DE" dirty="0" err="1"/>
              <a:t>GerichtID</a:t>
            </a:r>
            <a:r>
              <a:rPr lang="de-DE" dirty="0"/>
              <a:t>, </a:t>
            </a:r>
            <a:r>
              <a:rPr lang="de-DE" dirty="0" err="1"/>
              <a:t>ZutatID</a:t>
            </a:r>
            <a:r>
              <a:rPr lang="de-DE" dirty="0"/>
              <a:t>, Menge)</a:t>
            </a:r>
          </a:p>
          <a:p>
            <a:r>
              <a:rPr lang="de-DE" dirty="0"/>
              <a:t>VALUES (58, 24, 5);</a:t>
            </a:r>
          </a:p>
          <a:p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80CBAB08-DAED-3DA2-19E5-7EF28627DFC4}"/>
              </a:ext>
            </a:extLst>
          </p:cNvPr>
          <p:cNvSpPr txBox="1"/>
          <p:nvPr/>
        </p:nvSpPr>
        <p:spPr>
          <a:xfrm>
            <a:off x="814812" y="2670773"/>
            <a:ext cx="872754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INSERT INTO </a:t>
            </a:r>
            <a:r>
              <a:rPr lang="de-DE" dirty="0" err="1"/>
              <a:t>Zutat_Gericht</a:t>
            </a:r>
            <a:r>
              <a:rPr lang="de-DE" dirty="0"/>
              <a:t> (</a:t>
            </a:r>
            <a:r>
              <a:rPr lang="de-DE" dirty="0" err="1"/>
              <a:t>GerichtID</a:t>
            </a:r>
            <a:r>
              <a:rPr lang="de-DE" dirty="0"/>
              <a:t>, </a:t>
            </a:r>
            <a:r>
              <a:rPr lang="de-DE" dirty="0" err="1"/>
              <a:t>ZutatID</a:t>
            </a:r>
            <a:r>
              <a:rPr lang="de-DE" dirty="0"/>
              <a:t>, Menge)</a:t>
            </a:r>
          </a:p>
          <a:p>
            <a:r>
              <a:rPr lang="de-DE" dirty="0"/>
              <a:t>VALUES (58, (SELECT </a:t>
            </a:r>
            <a:r>
              <a:rPr lang="de-DE" dirty="0" err="1"/>
              <a:t>ZutatID</a:t>
            </a:r>
            <a:r>
              <a:rPr lang="de-DE" dirty="0"/>
              <a:t>  FROM Zutat  WHERE Bezeichnung = ‘ganzes Hähnchen‘), 1);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52148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0356C1-299D-8A9A-461E-F6F3FA3119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>
            <a:extLst>
              <a:ext uri="{FF2B5EF4-FFF2-40B4-BE49-F238E27FC236}">
                <a16:creationId xmlns:a16="http://schemas.microsoft.com/office/drawing/2014/main" id="{B896F706-0340-0785-540D-A21F93BB0149}"/>
              </a:ext>
            </a:extLst>
          </p:cNvPr>
          <p:cNvSpPr txBox="1"/>
          <p:nvPr/>
        </p:nvSpPr>
        <p:spPr>
          <a:xfrm>
            <a:off x="923454" y="1204110"/>
            <a:ext cx="66090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INSERT INTO </a:t>
            </a:r>
            <a:r>
              <a:rPr lang="de-DE" dirty="0" err="1"/>
              <a:t>GerichtArchiv</a:t>
            </a:r>
            <a:r>
              <a:rPr lang="de-DE" dirty="0"/>
              <a:t> (*)</a:t>
            </a:r>
          </a:p>
          <a:p>
            <a:r>
              <a:rPr lang="de-DE" dirty="0"/>
              <a:t>SELECT * FROM Gericht;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B730574-2EA0-F032-FC09-BE1D0C56C8A1}"/>
              </a:ext>
            </a:extLst>
          </p:cNvPr>
          <p:cNvSpPr txBox="1"/>
          <p:nvPr/>
        </p:nvSpPr>
        <p:spPr>
          <a:xfrm>
            <a:off x="1430448" y="2969537"/>
            <a:ext cx="500656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SELECT </a:t>
            </a:r>
            <a:r>
              <a:rPr lang="de-DE" dirty="0" err="1"/>
              <a:t>GerichtID</a:t>
            </a:r>
            <a:r>
              <a:rPr lang="de-DE" dirty="0"/>
              <a:t>, Bezeichnung, </a:t>
            </a:r>
            <a:r>
              <a:rPr lang="de-DE" dirty="0" err="1"/>
              <a:t>LieferantID</a:t>
            </a:r>
            <a:endParaRPr lang="de-DE" dirty="0"/>
          </a:p>
          <a:p>
            <a:r>
              <a:rPr lang="de-DE" dirty="0"/>
              <a:t>INTO </a:t>
            </a:r>
            <a:r>
              <a:rPr lang="de-DE" dirty="0" err="1"/>
              <a:t>GerichtArchiv</a:t>
            </a:r>
            <a:endParaRPr lang="de-DE" dirty="0"/>
          </a:p>
          <a:p>
            <a:r>
              <a:rPr lang="de-DE" dirty="0"/>
              <a:t>FROM Gericht</a:t>
            </a:r>
          </a:p>
          <a:p>
            <a:r>
              <a:rPr lang="de-DE" dirty="0"/>
              <a:t>WHERE …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B423989-A46D-6D79-2C17-A88DD5E524AE}"/>
              </a:ext>
            </a:extLst>
          </p:cNvPr>
          <p:cNvSpPr txBox="1"/>
          <p:nvPr/>
        </p:nvSpPr>
        <p:spPr>
          <a:xfrm>
            <a:off x="1238062" y="4545895"/>
            <a:ext cx="615182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5CC5"/>
                </a:solidFill>
                <a:effectLst/>
              </a:rPr>
              <a:t>SELECT</a:t>
            </a:r>
            <a:r>
              <a:rPr lang="en-US" dirty="0">
                <a:solidFill>
                  <a:srgbClr val="000000"/>
                </a:solidFill>
                <a:effectLst/>
              </a:rPr>
              <a:t> * </a:t>
            </a:r>
            <a:r>
              <a:rPr lang="en-US" dirty="0">
                <a:solidFill>
                  <a:srgbClr val="005CC5"/>
                </a:solidFill>
                <a:effectLst/>
              </a:rPr>
              <a:t>INTO</a:t>
            </a:r>
            <a:r>
              <a:rPr lang="en-US" dirty="0">
                <a:solidFill>
                  <a:srgbClr val="000000"/>
                </a:solidFill>
                <a:effectLst/>
              </a:rPr>
              <a:t> </a:t>
            </a:r>
            <a:r>
              <a:rPr lang="en-US" dirty="0" err="1">
                <a:solidFill>
                  <a:srgbClr val="000000"/>
                </a:solidFill>
                <a:effectLst/>
              </a:rPr>
              <a:t>CustomersGermany</a:t>
            </a:r>
            <a:br>
              <a:rPr lang="en-US" dirty="0">
                <a:solidFill>
                  <a:srgbClr val="000000"/>
                </a:solidFill>
                <a:effectLst/>
              </a:rPr>
            </a:br>
            <a:r>
              <a:rPr lang="en-US" dirty="0">
                <a:solidFill>
                  <a:srgbClr val="005CC5"/>
                </a:solidFill>
                <a:effectLst/>
              </a:rPr>
              <a:t>FROM</a:t>
            </a:r>
            <a:r>
              <a:rPr lang="en-US" dirty="0">
                <a:solidFill>
                  <a:srgbClr val="000000"/>
                </a:solidFill>
                <a:effectLst/>
              </a:rPr>
              <a:t> Customers</a:t>
            </a:r>
            <a:br>
              <a:rPr lang="en-US" dirty="0">
                <a:solidFill>
                  <a:srgbClr val="000000"/>
                </a:solidFill>
                <a:effectLst/>
              </a:rPr>
            </a:br>
            <a:r>
              <a:rPr lang="en-US" dirty="0">
                <a:solidFill>
                  <a:srgbClr val="005CC5"/>
                </a:solidFill>
                <a:effectLst/>
              </a:rPr>
              <a:t>WHERE</a:t>
            </a:r>
            <a:r>
              <a:rPr lang="en-US" dirty="0">
                <a:solidFill>
                  <a:srgbClr val="000000"/>
                </a:solidFill>
                <a:effectLst/>
              </a:rPr>
              <a:t> Country = </a:t>
            </a:r>
            <a:r>
              <a:rPr lang="en-US" dirty="0">
                <a:solidFill>
                  <a:srgbClr val="008000"/>
                </a:solidFill>
                <a:effectLst/>
              </a:rPr>
              <a:t>'Germany'</a:t>
            </a:r>
            <a:r>
              <a:rPr lang="en-US" dirty="0">
                <a:solidFill>
                  <a:srgbClr val="000000"/>
                </a:solidFill>
                <a:effectLst/>
              </a:rPr>
              <a:t>; </a:t>
            </a:r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6EF2141-7367-C508-13C3-4D29EB7B2A87}"/>
              </a:ext>
            </a:extLst>
          </p:cNvPr>
          <p:cNvSpPr txBox="1"/>
          <p:nvPr/>
        </p:nvSpPr>
        <p:spPr>
          <a:xfrm>
            <a:off x="6096000" y="4554949"/>
            <a:ext cx="615182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5CC5"/>
                </a:solidFill>
                <a:effectLst/>
              </a:rPr>
              <a:t>SELECT</a:t>
            </a:r>
            <a:r>
              <a:rPr lang="en-US" dirty="0">
                <a:solidFill>
                  <a:srgbClr val="000000"/>
                </a:solidFill>
                <a:effectLst/>
              </a:rPr>
              <a:t> * </a:t>
            </a:r>
            <a:r>
              <a:rPr lang="en-US" dirty="0">
                <a:solidFill>
                  <a:srgbClr val="005CC5"/>
                </a:solidFill>
                <a:effectLst/>
              </a:rPr>
              <a:t>INTO</a:t>
            </a:r>
            <a:r>
              <a:rPr lang="en-US" dirty="0">
                <a:solidFill>
                  <a:srgbClr val="000000"/>
                </a:solidFill>
                <a:effectLst/>
              </a:rPr>
              <a:t> </a:t>
            </a:r>
            <a:r>
              <a:rPr lang="en-US" i="1" dirty="0" err="1">
                <a:solidFill>
                  <a:srgbClr val="000000"/>
                </a:solidFill>
                <a:effectLst/>
              </a:rPr>
              <a:t>newtable</a:t>
            </a:r>
            <a:br>
              <a:rPr lang="en-US" dirty="0">
                <a:solidFill>
                  <a:srgbClr val="000000"/>
                </a:solidFill>
                <a:effectLst/>
              </a:rPr>
            </a:br>
            <a:r>
              <a:rPr lang="en-US" dirty="0">
                <a:solidFill>
                  <a:srgbClr val="005CC5"/>
                </a:solidFill>
                <a:effectLst/>
              </a:rPr>
              <a:t>FROM</a:t>
            </a:r>
            <a:r>
              <a:rPr lang="en-US" dirty="0">
                <a:solidFill>
                  <a:srgbClr val="000000"/>
                </a:solidFill>
                <a:effectLst/>
              </a:rPr>
              <a:t> </a:t>
            </a:r>
            <a:r>
              <a:rPr lang="en-US" i="1" dirty="0" err="1">
                <a:solidFill>
                  <a:srgbClr val="000000"/>
                </a:solidFill>
                <a:effectLst/>
              </a:rPr>
              <a:t>oldtable</a:t>
            </a:r>
            <a:br>
              <a:rPr lang="en-US" dirty="0">
                <a:solidFill>
                  <a:srgbClr val="000000"/>
                </a:solidFill>
                <a:effectLst/>
              </a:rPr>
            </a:br>
            <a:r>
              <a:rPr lang="en-US" dirty="0">
                <a:solidFill>
                  <a:srgbClr val="005CC5"/>
                </a:solidFill>
                <a:effectLst/>
              </a:rPr>
              <a:t>WHERE</a:t>
            </a:r>
            <a:r>
              <a:rPr lang="en-US" dirty="0">
                <a:solidFill>
                  <a:srgbClr val="000000"/>
                </a:solidFill>
                <a:effectLst/>
              </a:rPr>
              <a:t> </a:t>
            </a:r>
            <a:r>
              <a:rPr lang="en-US" dirty="0">
                <a:solidFill>
                  <a:srgbClr val="990055"/>
                </a:solidFill>
                <a:effectLst/>
              </a:rPr>
              <a:t>1</a:t>
            </a:r>
            <a:r>
              <a:rPr lang="en-US" dirty="0">
                <a:solidFill>
                  <a:srgbClr val="000000"/>
                </a:solidFill>
                <a:effectLst/>
              </a:rPr>
              <a:t> = </a:t>
            </a:r>
            <a:r>
              <a:rPr lang="en-US" dirty="0">
                <a:solidFill>
                  <a:srgbClr val="990055"/>
                </a:solidFill>
                <a:effectLst/>
              </a:rPr>
              <a:t>0</a:t>
            </a:r>
            <a:r>
              <a:rPr lang="en-US" dirty="0">
                <a:solidFill>
                  <a:srgbClr val="000000"/>
                </a:solidFill>
                <a:effectLst/>
              </a:rPr>
              <a:t>; 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9DF589FD-E51F-B176-1624-260D90D7DD56}"/>
              </a:ext>
            </a:extLst>
          </p:cNvPr>
          <p:cNvSpPr txBox="1"/>
          <p:nvPr/>
        </p:nvSpPr>
        <p:spPr>
          <a:xfrm>
            <a:off x="5930020" y="5767057"/>
            <a:ext cx="32320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Es wird eine leere, neue Tabelle in der DB erstellt.</a:t>
            </a:r>
          </a:p>
        </p:txBody>
      </p:sp>
    </p:spTree>
    <p:extLst>
      <p:ext uri="{BB962C8B-B14F-4D97-AF65-F5344CB8AC3E}">
        <p14:creationId xmlns:p14="http://schemas.microsoft.com/office/powerpoint/2010/main" val="38901241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7AC45F-A8C8-46D7-B133-7B494EE46B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02C4ACAF-5692-E955-0848-722ECF9B98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8922" y="0"/>
            <a:ext cx="9347953" cy="668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80104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961E9F-FD36-0E01-F49E-E18F0EC570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24BD9FBF-F24D-031C-5281-84100936CD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1955" y="0"/>
            <a:ext cx="75080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67047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5815C0-9D26-5601-02C3-B5E058BD15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04508E69-3573-3C85-A247-B89ACCECC4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639" y="477777"/>
            <a:ext cx="7620965" cy="1296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0455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1F20C1-AE34-520F-8B64-AE50AE2F71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6E68749F-1FAF-E488-C853-BC9DD482C3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704" y="0"/>
            <a:ext cx="9609771" cy="4159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89841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9693B4-CEBE-61DF-72BE-BF6D6EF7FD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EFB3CAF9-E931-C397-4479-2825ACF3BB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6944" y="0"/>
            <a:ext cx="9638350" cy="4153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637997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EDEB8B-51D7-CC62-656F-349F80F524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BFECB33-6B61-51F8-2795-1088D68849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452" y="728910"/>
            <a:ext cx="9725557" cy="1452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98131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D57878-1051-0D76-3952-C3C1D6BA39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28B09899-1262-69D3-B113-F516BC554B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9370337" cy="5501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2105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9FC2B8-C62E-E28B-64FC-79326FF70E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6051E16D-537C-29E3-4EE4-412826A2328E}"/>
              </a:ext>
            </a:extLst>
          </p:cNvPr>
          <p:cNvSpPr txBox="1"/>
          <p:nvPr/>
        </p:nvSpPr>
        <p:spPr>
          <a:xfrm>
            <a:off x="2725093" y="2690336"/>
            <a:ext cx="574895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Klassenbuch</a:t>
            </a:r>
          </a:p>
          <a:p>
            <a:endParaRPr lang="de-DE" dirty="0"/>
          </a:p>
          <a:p>
            <a:r>
              <a:rPr lang="de-DE" dirty="0"/>
              <a:t>Programmierung</a:t>
            </a:r>
          </a:p>
          <a:p>
            <a:r>
              <a:rPr lang="de-DE" dirty="0"/>
              <a:t>SQL</a:t>
            </a:r>
          </a:p>
          <a:p>
            <a:r>
              <a:rPr lang="de-DE" dirty="0"/>
              <a:t>Datenbankschema, ER-Modell (Chen-Notation)</a:t>
            </a:r>
          </a:p>
        </p:txBody>
      </p:sp>
    </p:spTree>
    <p:extLst>
      <p:ext uri="{BB962C8B-B14F-4D97-AF65-F5344CB8AC3E}">
        <p14:creationId xmlns:p14="http://schemas.microsoft.com/office/powerpoint/2010/main" val="21120886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40227D-A7B4-2AA4-739A-E56E064228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A390CDC-4039-74BA-06A0-B0ABD80636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8072" y="280548"/>
            <a:ext cx="9535856" cy="6296904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2" name="Freihand 1">
                <a:extLst>
                  <a:ext uri="{FF2B5EF4-FFF2-40B4-BE49-F238E27FC236}">
                    <a16:creationId xmlns:a16="http://schemas.microsoft.com/office/drawing/2014/main" id="{655DF937-C83F-A874-0EC4-0D4D1C746BAD}"/>
                  </a:ext>
                </a:extLst>
              </p14:cNvPr>
              <p14:cNvContentPartPr/>
              <p14:nvPr/>
            </p14:nvContentPartPr>
            <p14:xfrm>
              <a:off x="4092134" y="1910185"/>
              <a:ext cx="64800" cy="636480"/>
            </p14:xfrm>
          </p:contentPart>
        </mc:Choice>
        <mc:Fallback>
          <p:pic>
            <p:nvPicPr>
              <p:cNvPr id="2" name="Freihand 1">
                <a:extLst>
                  <a:ext uri="{FF2B5EF4-FFF2-40B4-BE49-F238E27FC236}">
                    <a16:creationId xmlns:a16="http://schemas.microsoft.com/office/drawing/2014/main" id="{655DF937-C83F-A874-0EC4-0D4D1C746BAD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74494" y="1892185"/>
                <a:ext cx="100440" cy="6721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1904720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8B425E-CBEC-9B02-788A-19BC67013D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F09C47A1-A36F-E5D9-8038-05DB7EDB6F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986" y="1189795"/>
            <a:ext cx="9469171" cy="2143424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66A161FE-0E1D-FBC4-750A-A6FD42AAF0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3779" y="3705168"/>
            <a:ext cx="9659698" cy="819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7409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F4D888-948E-B02E-B6CC-A1BEC44885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657B173B-ACB2-35C9-2A1C-44D794DD39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4126" y="42390"/>
            <a:ext cx="6963747" cy="6773220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6" name="Freihand 5">
                <a:extLst>
                  <a:ext uri="{FF2B5EF4-FFF2-40B4-BE49-F238E27FC236}">
                    <a16:creationId xmlns:a16="http://schemas.microsoft.com/office/drawing/2014/main" id="{3933D6F6-CA45-204E-CEF3-725117F1C1DC}"/>
                  </a:ext>
                </a:extLst>
              </p14:cNvPr>
              <p14:cNvContentPartPr/>
              <p14:nvPr/>
            </p14:nvContentPartPr>
            <p14:xfrm>
              <a:off x="2889014" y="434185"/>
              <a:ext cx="252720" cy="28800"/>
            </p14:xfrm>
          </p:contentPart>
        </mc:Choice>
        <mc:Fallback>
          <p:pic>
            <p:nvPicPr>
              <p:cNvPr id="6" name="Freihand 5">
                <a:extLst>
                  <a:ext uri="{FF2B5EF4-FFF2-40B4-BE49-F238E27FC236}">
                    <a16:creationId xmlns:a16="http://schemas.microsoft.com/office/drawing/2014/main" id="{3933D6F6-CA45-204E-CEF3-725117F1C1DC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871014" y="416185"/>
                <a:ext cx="288360" cy="64440"/>
              </a:xfrm>
              <a:prstGeom prst="rect">
                <a:avLst/>
              </a:prstGeom>
            </p:spPr>
          </p:pic>
        </mc:Fallback>
      </mc:AlternateContent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79D6980E-3A46-80BE-FDE3-EAA3AE8BEA9C}"/>
              </a:ext>
            </a:extLst>
          </p:cNvPr>
          <p:cNvGrpSpPr/>
          <p:nvPr/>
        </p:nvGrpSpPr>
        <p:grpSpPr>
          <a:xfrm>
            <a:off x="3132374" y="371185"/>
            <a:ext cx="122040" cy="145440"/>
            <a:chOff x="3132374" y="371185"/>
            <a:chExt cx="122040" cy="1454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5">
              <p14:nvContentPartPr>
                <p14:cNvPr id="9" name="Freihand 8">
                  <a:extLst>
                    <a:ext uri="{FF2B5EF4-FFF2-40B4-BE49-F238E27FC236}">
                      <a16:creationId xmlns:a16="http://schemas.microsoft.com/office/drawing/2014/main" id="{C00DCDC1-D1CF-AA51-A8BC-3D8BA1C49FFB}"/>
                    </a:ext>
                  </a:extLst>
                </p14:cNvPr>
                <p14:cNvContentPartPr/>
                <p14:nvPr/>
              </p14:nvContentPartPr>
              <p14:xfrm>
                <a:off x="3132374" y="389185"/>
                <a:ext cx="360" cy="126000"/>
              </p14:xfrm>
            </p:contentPart>
          </mc:Choice>
          <mc:Fallback>
            <p:pic>
              <p:nvPicPr>
                <p:cNvPr id="9" name="Freihand 8">
                  <a:extLst>
                    <a:ext uri="{FF2B5EF4-FFF2-40B4-BE49-F238E27FC236}">
                      <a16:creationId xmlns:a16="http://schemas.microsoft.com/office/drawing/2014/main" id="{C00DCDC1-D1CF-AA51-A8BC-3D8BA1C49FFB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3114374" y="371185"/>
                  <a:ext cx="36000" cy="161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">
              <p14:nvContentPartPr>
                <p14:cNvPr id="10" name="Freihand 9">
                  <a:extLst>
                    <a:ext uri="{FF2B5EF4-FFF2-40B4-BE49-F238E27FC236}">
                      <a16:creationId xmlns:a16="http://schemas.microsoft.com/office/drawing/2014/main" id="{F990A0B3-0800-DEE9-A0ED-090ECE3E8C36}"/>
                    </a:ext>
                  </a:extLst>
                </p14:cNvPr>
                <p14:cNvContentPartPr/>
                <p14:nvPr/>
              </p14:nvContentPartPr>
              <p14:xfrm>
                <a:off x="3151814" y="371185"/>
                <a:ext cx="102600" cy="145440"/>
              </p14:xfrm>
            </p:contentPart>
          </mc:Choice>
          <mc:Fallback>
            <p:pic>
              <p:nvPicPr>
                <p:cNvPr id="10" name="Freihand 9">
                  <a:extLst>
                    <a:ext uri="{FF2B5EF4-FFF2-40B4-BE49-F238E27FC236}">
                      <a16:creationId xmlns:a16="http://schemas.microsoft.com/office/drawing/2014/main" id="{F990A0B3-0800-DEE9-A0ED-090ECE3E8C36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3133814" y="353185"/>
                  <a:ext cx="138240" cy="1810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9">
            <p14:nvContentPartPr>
              <p14:cNvPr id="12" name="Freihand 11">
                <a:extLst>
                  <a:ext uri="{FF2B5EF4-FFF2-40B4-BE49-F238E27FC236}">
                    <a16:creationId xmlns:a16="http://schemas.microsoft.com/office/drawing/2014/main" id="{1185EE6E-F646-E79B-20A5-E53D553BC8AC}"/>
                  </a:ext>
                </a:extLst>
              </p14:cNvPr>
              <p14:cNvContentPartPr/>
              <p14:nvPr/>
            </p14:nvContentPartPr>
            <p14:xfrm>
              <a:off x="3195734" y="866545"/>
              <a:ext cx="4173120" cy="48240"/>
            </p14:xfrm>
          </p:contentPart>
        </mc:Choice>
        <mc:Fallback>
          <p:pic>
            <p:nvPicPr>
              <p:cNvPr id="12" name="Freihand 11">
                <a:extLst>
                  <a:ext uri="{FF2B5EF4-FFF2-40B4-BE49-F238E27FC236}">
                    <a16:creationId xmlns:a16="http://schemas.microsoft.com/office/drawing/2014/main" id="{1185EE6E-F646-E79B-20A5-E53D553BC8AC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3141734" y="758905"/>
                <a:ext cx="4280760" cy="263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">
            <p14:nvContentPartPr>
              <p14:cNvPr id="13" name="Freihand 12">
                <a:extLst>
                  <a:ext uri="{FF2B5EF4-FFF2-40B4-BE49-F238E27FC236}">
                    <a16:creationId xmlns:a16="http://schemas.microsoft.com/office/drawing/2014/main" id="{3321B809-2DF5-8503-88C0-354BD26D4F18}"/>
                  </a:ext>
                </a:extLst>
              </p14:cNvPr>
              <p14:cNvContentPartPr/>
              <p14:nvPr/>
            </p14:nvContentPartPr>
            <p14:xfrm>
              <a:off x="3340454" y="495385"/>
              <a:ext cx="986400" cy="32400"/>
            </p14:xfrm>
          </p:contentPart>
        </mc:Choice>
        <mc:Fallback>
          <p:pic>
            <p:nvPicPr>
              <p:cNvPr id="13" name="Freihand 12">
                <a:extLst>
                  <a:ext uri="{FF2B5EF4-FFF2-40B4-BE49-F238E27FC236}">
                    <a16:creationId xmlns:a16="http://schemas.microsoft.com/office/drawing/2014/main" id="{3321B809-2DF5-8503-88C0-354BD26D4F18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3286454" y="387385"/>
                <a:ext cx="1094040" cy="248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3">
            <p14:nvContentPartPr>
              <p14:cNvPr id="14" name="Freihand 13">
                <a:extLst>
                  <a:ext uri="{FF2B5EF4-FFF2-40B4-BE49-F238E27FC236}">
                    <a16:creationId xmlns:a16="http://schemas.microsoft.com/office/drawing/2014/main" id="{9FFA1637-F7A9-A709-41F6-D8335039BB88}"/>
                  </a:ext>
                </a:extLst>
              </p14:cNvPr>
              <p14:cNvContentPartPr/>
              <p14:nvPr/>
            </p14:nvContentPartPr>
            <p14:xfrm>
              <a:off x="4933814" y="1230865"/>
              <a:ext cx="1040400" cy="36720"/>
            </p14:xfrm>
          </p:contentPart>
        </mc:Choice>
        <mc:Fallback>
          <p:pic>
            <p:nvPicPr>
              <p:cNvPr id="14" name="Freihand 13">
                <a:extLst>
                  <a:ext uri="{FF2B5EF4-FFF2-40B4-BE49-F238E27FC236}">
                    <a16:creationId xmlns:a16="http://schemas.microsoft.com/office/drawing/2014/main" id="{9FFA1637-F7A9-A709-41F6-D8335039BB88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4880174" y="1123225"/>
                <a:ext cx="1148040" cy="252360"/>
              </a:xfrm>
              <a:prstGeom prst="rect">
                <a:avLst/>
              </a:prstGeom>
            </p:spPr>
          </p:pic>
        </mc:Fallback>
      </mc:AlternateContent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DB57115-D285-FA47-C9F0-A792D8FAD2D7}"/>
              </a:ext>
            </a:extLst>
          </p:cNvPr>
          <p:cNvGrpSpPr/>
          <p:nvPr/>
        </p:nvGrpSpPr>
        <p:grpSpPr>
          <a:xfrm>
            <a:off x="6002294" y="1928185"/>
            <a:ext cx="679320" cy="416520"/>
            <a:chOff x="6002294" y="1928185"/>
            <a:chExt cx="679320" cy="4165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5">
              <p14:nvContentPartPr>
                <p14:cNvPr id="15" name="Freihand 14">
                  <a:extLst>
                    <a:ext uri="{FF2B5EF4-FFF2-40B4-BE49-F238E27FC236}">
                      <a16:creationId xmlns:a16="http://schemas.microsoft.com/office/drawing/2014/main" id="{0C10CF9F-E756-8E31-BF70-24773E649C98}"/>
                    </a:ext>
                  </a:extLst>
                </p14:cNvPr>
                <p14:cNvContentPartPr/>
                <p14:nvPr/>
              </p14:nvContentPartPr>
              <p14:xfrm>
                <a:off x="6002294" y="1928185"/>
                <a:ext cx="377640" cy="416520"/>
              </p14:xfrm>
            </p:contentPart>
          </mc:Choice>
          <mc:Fallback>
            <p:pic>
              <p:nvPicPr>
                <p:cNvPr id="15" name="Freihand 14">
                  <a:extLst>
                    <a:ext uri="{FF2B5EF4-FFF2-40B4-BE49-F238E27FC236}">
                      <a16:creationId xmlns:a16="http://schemas.microsoft.com/office/drawing/2014/main" id="{0C10CF9F-E756-8E31-BF70-24773E649C98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5984294" y="1910545"/>
                  <a:ext cx="413280" cy="452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">
              <p14:nvContentPartPr>
                <p14:cNvPr id="16" name="Freihand 15">
                  <a:extLst>
                    <a:ext uri="{FF2B5EF4-FFF2-40B4-BE49-F238E27FC236}">
                      <a16:creationId xmlns:a16="http://schemas.microsoft.com/office/drawing/2014/main" id="{FECAA5CF-EED7-4D3A-734D-92E6C730EF73}"/>
                    </a:ext>
                  </a:extLst>
                </p14:cNvPr>
                <p14:cNvContentPartPr/>
                <p14:nvPr/>
              </p14:nvContentPartPr>
              <p14:xfrm>
                <a:off x="6561014" y="2171905"/>
                <a:ext cx="120600" cy="56880"/>
              </p14:xfrm>
            </p:contentPart>
          </mc:Choice>
          <mc:Fallback>
            <p:pic>
              <p:nvPicPr>
                <p:cNvPr id="16" name="Freihand 15">
                  <a:extLst>
                    <a:ext uri="{FF2B5EF4-FFF2-40B4-BE49-F238E27FC236}">
                      <a16:creationId xmlns:a16="http://schemas.microsoft.com/office/drawing/2014/main" id="{FECAA5CF-EED7-4D3A-734D-92E6C730EF73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6543374" y="2154265"/>
                  <a:ext cx="156240" cy="9252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18" name="Textfeld 17">
            <a:extLst>
              <a:ext uri="{FF2B5EF4-FFF2-40B4-BE49-F238E27FC236}">
                <a16:creationId xmlns:a16="http://schemas.microsoft.com/office/drawing/2014/main" id="{63104554-32A9-D955-B4AA-15BF46D169D8}"/>
              </a:ext>
            </a:extLst>
          </p:cNvPr>
          <p:cNvSpPr txBox="1"/>
          <p:nvPr/>
        </p:nvSpPr>
        <p:spPr>
          <a:xfrm>
            <a:off x="6621314" y="1928185"/>
            <a:ext cx="37209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1. Durchlauf alle Werte auf null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19">
            <p14:nvContentPartPr>
              <p14:cNvPr id="19" name="Freihand 18">
                <a:extLst>
                  <a:ext uri="{FF2B5EF4-FFF2-40B4-BE49-F238E27FC236}">
                    <a16:creationId xmlns:a16="http://schemas.microsoft.com/office/drawing/2014/main" id="{2D24B518-6A8F-6C85-C974-4FFB73AFFA4E}"/>
                  </a:ext>
                </a:extLst>
              </p14:cNvPr>
              <p14:cNvContentPartPr/>
              <p14:nvPr/>
            </p14:nvContentPartPr>
            <p14:xfrm>
              <a:off x="3666614" y="2589145"/>
              <a:ext cx="3515400" cy="96480"/>
            </p14:xfrm>
          </p:contentPart>
        </mc:Choice>
        <mc:Fallback>
          <p:pic>
            <p:nvPicPr>
              <p:cNvPr id="19" name="Freihand 18">
                <a:extLst>
                  <a:ext uri="{FF2B5EF4-FFF2-40B4-BE49-F238E27FC236}">
                    <a16:creationId xmlns:a16="http://schemas.microsoft.com/office/drawing/2014/main" id="{2D24B518-6A8F-6C85-C974-4FFB73AFFA4E}"/>
                  </a:ext>
                </a:extLst>
              </p:cNvPr>
              <p:cNvPicPr/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3612614" y="2481145"/>
                <a:ext cx="3623040" cy="3121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2185495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ED65A3-E4EC-09A6-3ED4-6EFA2324F8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6FB17400-389B-2CFC-B632-66FF7B690B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4126" y="42390"/>
            <a:ext cx="6963747" cy="6773220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6" name="Freihand 5">
                <a:extLst>
                  <a:ext uri="{FF2B5EF4-FFF2-40B4-BE49-F238E27FC236}">
                    <a16:creationId xmlns:a16="http://schemas.microsoft.com/office/drawing/2014/main" id="{F9CD77D6-BC0C-A552-EBCF-5134F7BEDEC8}"/>
                  </a:ext>
                </a:extLst>
              </p14:cNvPr>
              <p14:cNvContentPartPr/>
              <p14:nvPr/>
            </p14:nvContentPartPr>
            <p14:xfrm>
              <a:off x="2889014" y="434185"/>
              <a:ext cx="252720" cy="28800"/>
            </p14:xfrm>
          </p:contentPart>
        </mc:Choice>
        <mc:Fallback>
          <p:pic>
            <p:nvPicPr>
              <p:cNvPr id="6" name="Freihand 5">
                <a:extLst>
                  <a:ext uri="{FF2B5EF4-FFF2-40B4-BE49-F238E27FC236}">
                    <a16:creationId xmlns:a16="http://schemas.microsoft.com/office/drawing/2014/main" id="{F9CD77D6-BC0C-A552-EBCF-5134F7BEDEC8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871014" y="416185"/>
                <a:ext cx="288360" cy="64440"/>
              </a:xfrm>
              <a:prstGeom prst="rect">
                <a:avLst/>
              </a:prstGeom>
            </p:spPr>
          </p:pic>
        </mc:Fallback>
      </mc:AlternateContent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2A8BD9F-0339-C9E0-83F9-E25272FCAD4E}"/>
              </a:ext>
            </a:extLst>
          </p:cNvPr>
          <p:cNvGrpSpPr/>
          <p:nvPr/>
        </p:nvGrpSpPr>
        <p:grpSpPr>
          <a:xfrm>
            <a:off x="3132374" y="371185"/>
            <a:ext cx="122040" cy="145440"/>
            <a:chOff x="3132374" y="371185"/>
            <a:chExt cx="122040" cy="1454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5">
              <p14:nvContentPartPr>
                <p14:cNvPr id="9" name="Freihand 8">
                  <a:extLst>
                    <a:ext uri="{FF2B5EF4-FFF2-40B4-BE49-F238E27FC236}">
                      <a16:creationId xmlns:a16="http://schemas.microsoft.com/office/drawing/2014/main" id="{B52356A1-29DF-F819-2320-36416A8CD258}"/>
                    </a:ext>
                  </a:extLst>
                </p14:cNvPr>
                <p14:cNvContentPartPr/>
                <p14:nvPr/>
              </p14:nvContentPartPr>
              <p14:xfrm>
                <a:off x="3132374" y="389185"/>
                <a:ext cx="360" cy="126000"/>
              </p14:xfrm>
            </p:contentPart>
          </mc:Choice>
          <mc:Fallback>
            <p:pic>
              <p:nvPicPr>
                <p:cNvPr id="9" name="Freihand 8">
                  <a:extLst>
                    <a:ext uri="{FF2B5EF4-FFF2-40B4-BE49-F238E27FC236}">
                      <a16:creationId xmlns:a16="http://schemas.microsoft.com/office/drawing/2014/main" id="{B52356A1-29DF-F819-2320-36416A8CD258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3114374" y="371236"/>
                  <a:ext cx="36000" cy="161538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">
              <p14:nvContentPartPr>
                <p14:cNvPr id="10" name="Freihand 9">
                  <a:extLst>
                    <a:ext uri="{FF2B5EF4-FFF2-40B4-BE49-F238E27FC236}">
                      <a16:creationId xmlns:a16="http://schemas.microsoft.com/office/drawing/2014/main" id="{E1CE0116-3D11-C145-2B74-D647B8DFFD11}"/>
                    </a:ext>
                  </a:extLst>
                </p14:cNvPr>
                <p14:cNvContentPartPr/>
                <p14:nvPr/>
              </p14:nvContentPartPr>
              <p14:xfrm>
                <a:off x="3151814" y="371185"/>
                <a:ext cx="102600" cy="145440"/>
              </p14:xfrm>
            </p:contentPart>
          </mc:Choice>
          <mc:Fallback>
            <p:pic>
              <p:nvPicPr>
                <p:cNvPr id="10" name="Freihand 9">
                  <a:extLst>
                    <a:ext uri="{FF2B5EF4-FFF2-40B4-BE49-F238E27FC236}">
                      <a16:creationId xmlns:a16="http://schemas.microsoft.com/office/drawing/2014/main" id="{E1CE0116-3D11-C145-2B74-D647B8DFFD11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3133814" y="353229"/>
                  <a:ext cx="138240" cy="180992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9">
            <p14:nvContentPartPr>
              <p14:cNvPr id="12" name="Freihand 11">
                <a:extLst>
                  <a:ext uri="{FF2B5EF4-FFF2-40B4-BE49-F238E27FC236}">
                    <a16:creationId xmlns:a16="http://schemas.microsoft.com/office/drawing/2014/main" id="{FBED5028-B7B0-703C-6F85-C7ABD950565A}"/>
                  </a:ext>
                </a:extLst>
              </p14:cNvPr>
              <p14:cNvContentPartPr/>
              <p14:nvPr/>
            </p14:nvContentPartPr>
            <p14:xfrm>
              <a:off x="3195734" y="866545"/>
              <a:ext cx="4173120" cy="48240"/>
            </p14:xfrm>
          </p:contentPart>
        </mc:Choice>
        <mc:Fallback>
          <p:pic>
            <p:nvPicPr>
              <p:cNvPr id="12" name="Freihand 11">
                <a:extLst>
                  <a:ext uri="{FF2B5EF4-FFF2-40B4-BE49-F238E27FC236}">
                    <a16:creationId xmlns:a16="http://schemas.microsoft.com/office/drawing/2014/main" id="{FBED5028-B7B0-703C-6F85-C7ABD950565A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3141734" y="758545"/>
                <a:ext cx="4280760" cy="263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">
            <p14:nvContentPartPr>
              <p14:cNvPr id="13" name="Freihand 12">
                <a:extLst>
                  <a:ext uri="{FF2B5EF4-FFF2-40B4-BE49-F238E27FC236}">
                    <a16:creationId xmlns:a16="http://schemas.microsoft.com/office/drawing/2014/main" id="{CB62ACB2-319C-0AF1-CD35-6FE9877D0F1C}"/>
                  </a:ext>
                </a:extLst>
              </p14:cNvPr>
              <p14:cNvContentPartPr/>
              <p14:nvPr/>
            </p14:nvContentPartPr>
            <p14:xfrm>
              <a:off x="3340454" y="495385"/>
              <a:ext cx="986400" cy="32400"/>
            </p14:xfrm>
          </p:contentPart>
        </mc:Choice>
        <mc:Fallback>
          <p:pic>
            <p:nvPicPr>
              <p:cNvPr id="13" name="Freihand 12">
                <a:extLst>
                  <a:ext uri="{FF2B5EF4-FFF2-40B4-BE49-F238E27FC236}">
                    <a16:creationId xmlns:a16="http://schemas.microsoft.com/office/drawing/2014/main" id="{CB62ACB2-319C-0AF1-CD35-6FE9877D0F1C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3286454" y="388572"/>
                <a:ext cx="1094040" cy="24567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3">
            <p14:nvContentPartPr>
              <p14:cNvPr id="14" name="Freihand 13">
                <a:extLst>
                  <a:ext uri="{FF2B5EF4-FFF2-40B4-BE49-F238E27FC236}">
                    <a16:creationId xmlns:a16="http://schemas.microsoft.com/office/drawing/2014/main" id="{3E31F051-2552-036E-A71E-886D83405A0F}"/>
                  </a:ext>
                </a:extLst>
              </p14:cNvPr>
              <p14:cNvContentPartPr/>
              <p14:nvPr/>
            </p14:nvContentPartPr>
            <p14:xfrm>
              <a:off x="4933814" y="1230865"/>
              <a:ext cx="1040400" cy="36720"/>
            </p14:xfrm>
          </p:contentPart>
        </mc:Choice>
        <mc:Fallback>
          <p:pic>
            <p:nvPicPr>
              <p:cNvPr id="14" name="Freihand 13">
                <a:extLst>
                  <a:ext uri="{FF2B5EF4-FFF2-40B4-BE49-F238E27FC236}">
                    <a16:creationId xmlns:a16="http://schemas.microsoft.com/office/drawing/2014/main" id="{3E31F051-2552-036E-A71E-886D83405A0F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4879814" y="1121796"/>
                <a:ext cx="1148040" cy="254495"/>
              </a:xfrm>
              <a:prstGeom prst="rect">
                <a:avLst/>
              </a:prstGeom>
            </p:spPr>
          </p:pic>
        </mc:Fallback>
      </mc:AlternateContent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BD38C44B-DB2D-5302-F1EB-643091BB1B46}"/>
              </a:ext>
            </a:extLst>
          </p:cNvPr>
          <p:cNvGrpSpPr/>
          <p:nvPr/>
        </p:nvGrpSpPr>
        <p:grpSpPr>
          <a:xfrm>
            <a:off x="6002294" y="1928185"/>
            <a:ext cx="679320" cy="416520"/>
            <a:chOff x="6002294" y="1928185"/>
            <a:chExt cx="679320" cy="4165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5">
              <p14:nvContentPartPr>
                <p14:cNvPr id="15" name="Freihand 14">
                  <a:extLst>
                    <a:ext uri="{FF2B5EF4-FFF2-40B4-BE49-F238E27FC236}">
                      <a16:creationId xmlns:a16="http://schemas.microsoft.com/office/drawing/2014/main" id="{77DB2DF2-B011-0D36-F598-13B67125EF1B}"/>
                    </a:ext>
                  </a:extLst>
                </p14:cNvPr>
                <p14:cNvContentPartPr/>
                <p14:nvPr/>
              </p14:nvContentPartPr>
              <p14:xfrm>
                <a:off x="6002294" y="1928185"/>
                <a:ext cx="377640" cy="416520"/>
              </p14:xfrm>
            </p:contentPart>
          </mc:Choice>
          <mc:Fallback>
            <p:pic>
              <p:nvPicPr>
                <p:cNvPr id="15" name="Freihand 14">
                  <a:extLst>
                    <a:ext uri="{FF2B5EF4-FFF2-40B4-BE49-F238E27FC236}">
                      <a16:creationId xmlns:a16="http://schemas.microsoft.com/office/drawing/2014/main" id="{77DB2DF2-B011-0D36-F598-13B67125EF1B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5984294" y="1910185"/>
                  <a:ext cx="413280" cy="452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">
              <p14:nvContentPartPr>
                <p14:cNvPr id="16" name="Freihand 15">
                  <a:extLst>
                    <a:ext uri="{FF2B5EF4-FFF2-40B4-BE49-F238E27FC236}">
                      <a16:creationId xmlns:a16="http://schemas.microsoft.com/office/drawing/2014/main" id="{596E4B6A-3BBD-8C52-7741-055DEDF8FD3B}"/>
                    </a:ext>
                  </a:extLst>
                </p14:cNvPr>
                <p14:cNvContentPartPr/>
                <p14:nvPr/>
              </p14:nvContentPartPr>
              <p14:xfrm>
                <a:off x="6561014" y="2171905"/>
                <a:ext cx="120600" cy="56880"/>
              </p14:xfrm>
            </p:contentPart>
          </mc:Choice>
          <mc:Fallback>
            <p:pic>
              <p:nvPicPr>
                <p:cNvPr id="16" name="Freihand 15">
                  <a:extLst>
                    <a:ext uri="{FF2B5EF4-FFF2-40B4-BE49-F238E27FC236}">
                      <a16:creationId xmlns:a16="http://schemas.microsoft.com/office/drawing/2014/main" id="{596E4B6A-3BBD-8C52-7741-055DEDF8FD3B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6543014" y="2153905"/>
                  <a:ext cx="156240" cy="9252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18" name="Textfeld 17">
            <a:extLst>
              <a:ext uri="{FF2B5EF4-FFF2-40B4-BE49-F238E27FC236}">
                <a16:creationId xmlns:a16="http://schemas.microsoft.com/office/drawing/2014/main" id="{CDD218E0-2665-6D20-D084-04A1A3F3F9C0}"/>
              </a:ext>
            </a:extLst>
          </p:cNvPr>
          <p:cNvSpPr txBox="1"/>
          <p:nvPr/>
        </p:nvSpPr>
        <p:spPr>
          <a:xfrm>
            <a:off x="6621314" y="1928185"/>
            <a:ext cx="37209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1. Durchlauf alle Werte auf null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19">
            <p14:nvContentPartPr>
              <p14:cNvPr id="2" name="Freihand 1">
                <a:extLst>
                  <a:ext uri="{FF2B5EF4-FFF2-40B4-BE49-F238E27FC236}">
                    <a16:creationId xmlns:a16="http://schemas.microsoft.com/office/drawing/2014/main" id="{456181E1-289E-402C-A723-9ACF03321E0C}"/>
                  </a:ext>
                </a:extLst>
              </p14:cNvPr>
              <p14:cNvContentPartPr/>
              <p14:nvPr/>
            </p14:nvContentPartPr>
            <p14:xfrm>
              <a:off x="3784334" y="4154065"/>
              <a:ext cx="507240" cy="38160"/>
            </p14:xfrm>
          </p:contentPart>
        </mc:Choice>
        <mc:Fallback>
          <p:pic>
            <p:nvPicPr>
              <p:cNvPr id="2" name="Freihand 1">
                <a:extLst>
                  <a:ext uri="{FF2B5EF4-FFF2-40B4-BE49-F238E27FC236}">
                    <a16:creationId xmlns:a16="http://schemas.microsoft.com/office/drawing/2014/main" id="{456181E1-289E-402C-A723-9ACF03321E0C}"/>
                  </a:ext>
                </a:extLst>
              </p:cNvPr>
              <p:cNvPicPr/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3766334" y="4136425"/>
                <a:ext cx="542880" cy="73800"/>
              </a:xfrm>
              <a:prstGeom prst="rect">
                <a:avLst/>
              </a:prstGeom>
            </p:spPr>
          </p:pic>
        </mc:Fallback>
      </mc:AlternateContent>
      <p:sp>
        <p:nvSpPr>
          <p:cNvPr id="3" name="Textfeld 2">
            <a:extLst>
              <a:ext uri="{FF2B5EF4-FFF2-40B4-BE49-F238E27FC236}">
                <a16:creationId xmlns:a16="http://schemas.microsoft.com/office/drawing/2014/main" id="{053645F4-D1F3-8583-C847-002AE575C17D}"/>
              </a:ext>
            </a:extLst>
          </p:cNvPr>
          <p:cNvSpPr txBox="1"/>
          <p:nvPr/>
        </p:nvSpPr>
        <p:spPr>
          <a:xfrm>
            <a:off x="4326854" y="3966723"/>
            <a:ext cx="42460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If</a:t>
            </a:r>
            <a:r>
              <a:rPr lang="de-DE" dirty="0"/>
              <a:t>(</a:t>
            </a:r>
            <a:r>
              <a:rPr lang="de-DE" dirty="0" err="1"/>
              <a:t>entry</a:t>
            </a:r>
            <a:r>
              <a:rPr lang="de-DE" dirty="0"/>
              <a:t>[i].</a:t>
            </a:r>
            <a:r>
              <a:rPr lang="de-DE" dirty="0" err="1"/>
              <a:t>getComeInOut</a:t>
            </a:r>
            <a:r>
              <a:rPr lang="de-DE" dirty="0"/>
              <a:t>() == 1)</a:t>
            </a:r>
          </a:p>
        </p:txBody>
      </p:sp>
    </p:spTree>
    <p:extLst>
      <p:ext uri="{BB962C8B-B14F-4D97-AF65-F5344CB8AC3E}">
        <p14:creationId xmlns:p14="http://schemas.microsoft.com/office/powerpoint/2010/main" val="12584438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BF88A8-3ED9-D9E1-AF3A-C0FA76A238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46E50C82-C3A0-E44A-3BCE-A83841647A90}"/>
              </a:ext>
            </a:extLst>
          </p:cNvPr>
          <p:cNvSpPr txBox="1"/>
          <p:nvPr/>
        </p:nvSpPr>
        <p:spPr>
          <a:xfrm>
            <a:off x="153909" y="1258432"/>
            <a:ext cx="11923414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For</a:t>
            </a:r>
            <a:r>
              <a:rPr lang="de-DE" dirty="0"/>
              <a:t> i = 0 bis i &lt;</a:t>
            </a:r>
            <a:r>
              <a:rPr lang="de-DE" dirty="0" err="1"/>
              <a:t>entry.length</a:t>
            </a:r>
            <a:r>
              <a:rPr lang="de-DE" dirty="0"/>
              <a:t> // einmal alles durchgehen</a:t>
            </a:r>
          </a:p>
          <a:p>
            <a:endParaRPr lang="de-DE" dirty="0"/>
          </a:p>
          <a:p>
            <a:r>
              <a:rPr lang="de-DE" dirty="0"/>
              <a:t>	</a:t>
            </a:r>
            <a:r>
              <a:rPr lang="de-DE" dirty="0" err="1"/>
              <a:t>day</a:t>
            </a:r>
            <a:r>
              <a:rPr lang="de-DE" dirty="0"/>
              <a:t> = </a:t>
            </a:r>
            <a:r>
              <a:rPr lang="de-DE" dirty="0" err="1"/>
              <a:t>entry</a:t>
            </a:r>
            <a:r>
              <a:rPr lang="de-DE" dirty="0"/>
              <a:t>[i].</a:t>
            </a:r>
            <a:r>
              <a:rPr lang="de-DE" dirty="0" err="1"/>
              <a:t>getDate</a:t>
            </a:r>
            <a:r>
              <a:rPr lang="de-DE" dirty="0"/>
              <a:t>().</a:t>
            </a:r>
            <a:r>
              <a:rPr lang="de-DE" dirty="0" err="1"/>
              <a:t>getDay</a:t>
            </a:r>
            <a:r>
              <a:rPr lang="de-DE" dirty="0"/>
              <a:t>()</a:t>
            </a:r>
          </a:p>
          <a:p>
            <a:r>
              <a:rPr lang="de-DE" dirty="0"/>
              <a:t>	</a:t>
            </a:r>
            <a:r>
              <a:rPr lang="de-DE" dirty="0" err="1"/>
              <a:t>hour</a:t>
            </a:r>
            <a:r>
              <a:rPr lang="de-DE" dirty="0"/>
              <a:t> = </a:t>
            </a:r>
            <a:r>
              <a:rPr lang="de-DE" dirty="0" err="1"/>
              <a:t>entry</a:t>
            </a:r>
            <a:r>
              <a:rPr lang="de-DE" dirty="0"/>
              <a:t>[i].</a:t>
            </a:r>
            <a:r>
              <a:rPr lang="de-DE" dirty="0" err="1"/>
              <a:t>getDate</a:t>
            </a:r>
            <a:r>
              <a:rPr lang="de-DE" dirty="0"/>
              <a:t>().</a:t>
            </a:r>
            <a:r>
              <a:rPr lang="de-DE" dirty="0" err="1"/>
              <a:t>getHour</a:t>
            </a:r>
            <a:r>
              <a:rPr lang="de-DE" dirty="0"/>
              <a:t>()</a:t>
            </a:r>
          </a:p>
          <a:p>
            <a:r>
              <a:rPr lang="de-DE" dirty="0"/>
              <a:t>	</a:t>
            </a:r>
            <a:r>
              <a:rPr lang="de-DE" dirty="0" err="1"/>
              <a:t>index_row</a:t>
            </a:r>
            <a:r>
              <a:rPr lang="de-DE" dirty="0"/>
              <a:t> = </a:t>
            </a:r>
            <a:r>
              <a:rPr lang="de-DE" dirty="0" err="1"/>
              <a:t>day</a:t>
            </a:r>
            <a:r>
              <a:rPr lang="de-DE" dirty="0"/>
              <a:t> – 1;</a:t>
            </a:r>
          </a:p>
          <a:p>
            <a:r>
              <a:rPr lang="de-DE" dirty="0"/>
              <a:t>	</a:t>
            </a:r>
            <a:r>
              <a:rPr lang="de-DE" dirty="0" err="1"/>
              <a:t>index_column</a:t>
            </a:r>
            <a:r>
              <a:rPr lang="de-DE" dirty="0"/>
              <a:t> = </a:t>
            </a:r>
            <a:r>
              <a:rPr lang="de-DE" dirty="0" err="1"/>
              <a:t>hour</a:t>
            </a:r>
            <a:r>
              <a:rPr lang="de-DE" dirty="0"/>
              <a:t> – 9;</a:t>
            </a:r>
          </a:p>
          <a:p>
            <a:r>
              <a:rPr lang="de-DE" dirty="0"/>
              <a:t>	</a:t>
            </a:r>
          </a:p>
          <a:p>
            <a:r>
              <a:rPr lang="de-DE" dirty="0"/>
              <a:t>	Do </a:t>
            </a:r>
            <a:r>
              <a:rPr lang="de-DE" dirty="0" err="1"/>
              <a:t>while</a:t>
            </a:r>
            <a:r>
              <a:rPr lang="de-DE" dirty="0"/>
              <a:t> (</a:t>
            </a:r>
            <a:r>
              <a:rPr lang="de-DE" dirty="0" err="1"/>
              <a:t>flag</a:t>
            </a:r>
            <a:r>
              <a:rPr lang="de-DE" dirty="0"/>
              <a:t> == 1)</a:t>
            </a:r>
          </a:p>
          <a:p>
            <a:pPr lvl="2"/>
            <a:r>
              <a:rPr lang="de-DE" dirty="0"/>
              <a:t>	</a:t>
            </a:r>
            <a:r>
              <a:rPr lang="de-DE" dirty="0" err="1"/>
              <a:t>if</a:t>
            </a:r>
            <a:r>
              <a:rPr lang="de-DE" dirty="0"/>
              <a:t>(</a:t>
            </a:r>
            <a:r>
              <a:rPr lang="de-DE" dirty="0" err="1"/>
              <a:t>entry</a:t>
            </a:r>
            <a:r>
              <a:rPr lang="de-DE" dirty="0"/>
              <a:t>[i].</a:t>
            </a:r>
            <a:r>
              <a:rPr lang="de-DE" dirty="0" err="1"/>
              <a:t>getComeInOut</a:t>
            </a:r>
            <a:r>
              <a:rPr lang="de-DE" dirty="0"/>
              <a:t>() == 0)</a:t>
            </a:r>
          </a:p>
          <a:p>
            <a:pPr lvl="2"/>
            <a:r>
              <a:rPr lang="de-DE" dirty="0"/>
              <a:t>		</a:t>
            </a:r>
            <a:r>
              <a:rPr lang="de-DE" dirty="0" err="1"/>
              <a:t>visitors</a:t>
            </a:r>
            <a:r>
              <a:rPr lang="de-DE" dirty="0"/>
              <a:t>[</a:t>
            </a:r>
            <a:r>
              <a:rPr lang="de-DE" dirty="0" err="1"/>
              <a:t>index_row</a:t>
            </a:r>
            <a:r>
              <a:rPr lang="de-DE" dirty="0"/>
              <a:t>][</a:t>
            </a:r>
            <a:r>
              <a:rPr lang="de-DE" dirty="0" err="1"/>
              <a:t>index_column</a:t>
            </a:r>
            <a:r>
              <a:rPr lang="de-DE" dirty="0"/>
              <a:t>] = </a:t>
            </a:r>
            <a:r>
              <a:rPr lang="de-DE" dirty="0" err="1"/>
              <a:t>visitors</a:t>
            </a:r>
            <a:r>
              <a:rPr lang="de-DE" dirty="0"/>
              <a:t>[</a:t>
            </a:r>
            <a:r>
              <a:rPr lang="de-DE" dirty="0" err="1"/>
              <a:t>index_row</a:t>
            </a:r>
            <a:r>
              <a:rPr lang="de-DE" dirty="0"/>
              <a:t>][</a:t>
            </a:r>
            <a:r>
              <a:rPr lang="de-DE" dirty="0" err="1"/>
              <a:t>index_column</a:t>
            </a:r>
            <a:r>
              <a:rPr lang="de-DE" dirty="0"/>
              <a:t>] +  </a:t>
            </a:r>
            <a:r>
              <a:rPr lang="de-DE" dirty="0" err="1"/>
              <a:t>entry</a:t>
            </a:r>
            <a:r>
              <a:rPr lang="de-DE" dirty="0"/>
              <a:t>[i].</a:t>
            </a:r>
            <a:r>
              <a:rPr lang="de-DE" dirty="0" err="1"/>
              <a:t>getNoPeople</a:t>
            </a:r>
            <a:r>
              <a:rPr lang="de-DE" dirty="0"/>
              <a:t>();</a:t>
            </a:r>
          </a:p>
          <a:p>
            <a:pPr lvl="2"/>
            <a:r>
              <a:rPr lang="de-DE" dirty="0"/>
              <a:t>	</a:t>
            </a:r>
            <a:r>
              <a:rPr lang="de-DE" dirty="0" err="1"/>
              <a:t>endif</a:t>
            </a:r>
            <a:endParaRPr lang="de-DE" dirty="0"/>
          </a:p>
          <a:p>
            <a:pPr lvl="2"/>
            <a:endParaRPr lang="de-DE" dirty="0"/>
          </a:p>
          <a:p>
            <a:pPr lvl="2"/>
            <a:r>
              <a:rPr lang="de-DE" dirty="0"/>
              <a:t>	</a:t>
            </a:r>
            <a:r>
              <a:rPr lang="de-DE" dirty="0" err="1"/>
              <a:t>if</a:t>
            </a:r>
            <a:r>
              <a:rPr lang="de-DE" dirty="0"/>
              <a:t>(</a:t>
            </a:r>
            <a:r>
              <a:rPr lang="de-DE" dirty="0" err="1"/>
              <a:t>entry</a:t>
            </a:r>
            <a:r>
              <a:rPr lang="de-DE" dirty="0"/>
              <a:t>[i].</a:t>
            </a:r>
            <a:r>
              <a:rPr lang="de-DE" dirty="0" err="1"/>
              <a:t>getComeInOut</a:t>
            </a:r>
            <a:r>
              <a:rPr lang="de-DE" dirty="0"/>
              <a:t>() == 1)</a:t>
            </a:r>
          </a:p>
          <a:p>
            <a:pPr lvl="2"/>
            <a:r>
              <a:rPr lang="de-DE" dirty="0"/>
              <a:t>		</a:t>
            </a:r>
            <a:r>
              <a:rPr lang="de-DE" dirty="0" err="1"/>
              <a:t>visitors</a:t>
            </a:r>
            <a:r>
              <a:rPr lang="de-DE" dirty="0"/>
              <a:t>[</a:t>
            </a:r>
            <a:r>
              <a:rPr lang="de-DE" dirty="0" err="1"/>
              <a:t>index_row</a:t>
            </a:r>
            <a:r>
              <a:rPr lang="de-DE" dirty="0"/>
              <a:t>][</a:t>
            </a:r>
            <a:r>
              <a:rPr lang="de-DE" dirty="0" err="1"/>
              <a:t>index_column</a:t>
            </a:r>
            <a:r>
              <a:rPr lang="de-DE" dirty="0"/>
              <a:t>] = </a:t>
            </a:r>
            <a:r>
              <a:rPr lang="de-DE" dirty="0" err="1"/>
              <a:t>visitors</a:t>
            </a:r>
            <a:r>
              <a:rPr lang="de-DE" dirty="0"/>
              <a:t>[</a:t>
            </a:r>
            <a:r>
              <a:rPr lang="de-DE" dirty="0" err="1"/>
              <a:t>index_row</a:t>
            </a:r>
            <a:r>
              <a:rPr lang="de-DE" dirty="0"/>
              <a:t>][</a:t>
            </a:r>
            <a:r>
              <a:rPr lang="de-DE" dirty="0" err="1"/>
              <a:t>index_column</a:t>
            </a:r>
            <a:r>
              <a:rPr lang="de-DE" dirty="0"/>
              <a:t>] -  </a:t>
            </a:r>
            <a:r>
              <a:rPr lang="de-DE" dirty="0" err="1"/>
              <a:t>entry</a:t>
            </a:r>
            <a:r>
              <a:rPr lang="de-DE" dirty="0"/>
              <a:t>[i].</a:t>
            </a:r>
            <a:r>
              <a:rPr lang="de-DE" dirty="0" err="1"/>
              <a:t>getNoPeople</a:t>
            </a:r>
            <a:r>
              <a:rPr lang="de-DE" dirty="0"/>
              <a:t>();</a:t>
            </a:r>
          </a:p>
          <a:p>
            <a:pPr lvl="2"/>
            <a:r>
              <a:rPr lang="de-DE" dirty="0"/>
              <a:t>	</a:t>
            </a:r>
            <a:r>
              <a:rPr lang="de-DE" dirty="0" err="1"/>
              <a:t>endif</a:t>
            </a:r>
            <a:endParaRPr lang="de-DE" dirty="0"/>
          </a:p>
          <a:p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D7A5C9BE-3D0B-3BFF-E652-F42C7486941F}"/>
              </a:ext>
            </a:extLst>
          </p:cNvPr>
          <p:cNvSpPr txBox="1"/>
          <p:nvPr/>
        </p:nvSpPr>
        <p:spPr>
          <a:xfrm rot="869567">
            <a:off x="5486400" y="2643612"/>
            <a:ext cx="34436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solidFill>
                  <a:srgbClr val="FF0000"/>
                </a:solidFill>
              </a:rPr>
              <a:t>Lösungsvorschlag</a:t>
            </a:r>
          </a:p>
        </p:txBody>
      </p:sp>
    </p:spTree>
    <p:extLst>
      <p:ext uri="{BB962C8B-B14F-4D97-AF65-F5344CB8AC3E}">
        <p14:creationId xmlns:p14="http://schemas.microsoft.com/office/powerpoint/2010/main" val="15094557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6F8955-F2C4-9762-D317-69A1F07A4F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2158B124-5B7E-59EB-5158-2707C788DC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507" y="161041"/>
            <a:ext cx="10266630" cy="6574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9064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00A13A-895A-328B-2BE1-3166E6AEF3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68E3ADD8-7582-8D74-3299-9D86CE5D33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032" y="1309829"/>
            <a:ext cx="10007935" cy="158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2" name="Freihand 1">
                <a:extLst>
                  <a:ext uri="{FF2B5EF4-FFF2-40B4-BE49-F238E27FC236}">
                    <a16:creationId xmlns:a16="http://schemas.microsoft.com/office/drawing/2014/main" id="{68677994-45A4-71F6-114A-9ABE2819299B}"/>
                  </a:ext>
                </a:extLst>
              </p14:cNvPr>
              <p14:cNvContentPartPr/>
              <p14:nvPr/>
            </p14:nvContentPartPr>
            <p14:xfrm>
              <a:off x="2208974" y="569905"/>
              <a:ext cx="4600080" cy="716040"/>
            </p14:xfrm>
          </p:contentPart>
        </mc:Choice>
        <mc:Fallback>
          <p:pic>
            <p:nvPicPr>
              <p:cNvPr id="2" name="Freihand 1">
                <a:extLst>
                  <a:ext uri="{FF2B5EF4-FFF2-40B4-BE49-F238E27FC236}">
                    <a16:creationId xmlns:a16="http://schemas.microsoft.com/office/drawing/2014/main" id="{68677994-45A4-71F6-114A-9ABE2819299B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190974" y="551905"/>
                <a:ext cx="4635720" cy="751680"/>
              </a:xfrm>
              <a:prstGeom prst="rect">
                <a:avLst/>
              </a:prstGeom>
            </p:spPr>
          </p:pic>
        </mc:Fallback>
      </mc:AlternateContent>
      <p:sp>
        <p:nvSpPr>
          <p:cNvPr id="3" name="Rechteck 2">
            <a:extLst>
              <a:ext uri="{FF2B5EF4-FFF2-40B4-BE49-F238E27FC236}">
                <a16:creationId xmlns:a16="http://schemas.microsoft.com/office/drawing/2014/main" id="{241962DF-FD30-42DC-ABE6-7D033FDCDBBC}"/>
              </a:ext>
            </a:extLst>
          </p:cNvPr>
          <p:cNvSpPr/>
          <p:nvPr/>
        </p:nvSpPr>
        <p:spPr>
          <a:xfrm>
            <a:off x="239047" y="4164593"/>
            <a:ext cx="1276539" cy="68806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Zutat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B8C75B-8D07-341C-A0C1-1B3B56A8FE9F}"/>
              </a:ext>
            </a:extLst>
          </p:cNvPr>
          <p:cNvSpPr/>
          <p:nvPr/>
        </p:nvSpPr>
        <p:spPr>
          <a:xfrm>
            <a:off x="5042769" y="4592372"/>
            <a:ext cx="1276539" cy="68806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Gericht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C46E6D4-4F5D-DB25-D465-06FAD433A522}"/>
              </a:ext>
            </a:extLst>
          </p:cNvPr>
          <p:cNvSpPr/>
          <p:nvPr/>
        </p:nvSpPr>
        <p:spPr>
          <a:xfrm>
            <a:off x="9587620" y="3270566"/>
            <a:ext cx="1276539" cy="68806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ieferant</a:t>
            </a: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91163F8E-FCB2-B709-A7DF-284BCD2E7606}"/>
              </a:ext>
            </a:extLst>
          </p:cNvPr>
          <p:cNvSpPr/>
          <p:nvPr/>
        </p:nvSpPr>
        <p:spPr>
          <a:xfrm>
            <a:off x="9587619" y="2317687"/>
            <a:ext cx="2181885" cy="39835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u="sng" dirty="0" err="1">
                <a:solidFill>
                  <a:schemeClr val="tx1"/>
                </a:solidFill>
              </a:rPr>
              <a:t>LieferantID</a:t>
            </a:r>
            <a:endParaRPr lang="de-DE" u="sng" dirty="0">
              <a:solidFill>
                <a:schemeClr val="tx1"/>
              </a:solidFill>
            </a:endParaRP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670E09A4-B102-6C4B-5378-DF3934402C4A}"/>
              </a:ext>
            </a:extLst>
          </p:cNvPr>
          <p:cNvCxnSpPr/>
          <p:nvPr/>
        </p:nvCxnSpPr>
        <p:spPr>
          <a:xfrm flipH="1">
            <a:off x="10393378" y="2734147"/>
            <a:ext cx="271604" cy="520575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llipse 8">
            <a:extLst>
              <a:ext uri="{FF2B5EF4-FFF2-40B4-BE49-F238E27FC236}">
                <a16:creationId xmlns:a16="http://schemas.microsoft.com/office/drawing/2014/main" id="{47D26815-0B49-2046-1743-E19D41866EA7}"/>
              </a:ext>
            </a:extLst>
          </p:cNvPr>
          <p:cNvSpPr/>
          <p:nvPr/>
        </p:nvSpPr>
        <p:spPr>
          <a:xfrm>
            <a:off x="9777743" y="4164594"/>
            <a:ext cx="1276539" cy="68806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Name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86526D0B-9431-C9FB-3CBA-81443F614CE8}"/>
              </a:ext>
            </a:extLst>
          </p:cNvPr>
          <p:cNvCxnSpPr>
            <a:cxnSpLocks/>
            <a:stCxn id="9" idx="0"/>
            <a:endCxn id="5" idx="2"/>
          </p:cNvCxnSpPr>
          <p:nvPr/>
        </p:nvCxnSpPr>
        <p:spPr>
          <a:xfrm flipH="1" flipV="1">
            <a:off x="10225890" y="3958629"/>
            <a:ext cx="190123" cy="205965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llipse 12">
            <a:extLst>
              <a:ext uri="{FF2B5EF4-FFF2-40B4-BE49-F238E27FC236}">
                <a16:creationId xmlns:a16="http://schemas.microsoft.com/office/drawing/2014/main" id="{17F6E288-13C8-94F9-5CE3-B553A65F0C48}"/>
              </a:ext>
            </a:extLst>
          </p:cNvPr>
          <p:cNvSpPr/>
          <p:nvPr/>
        </p:nvSpPr>
        <p:spPr>
          <a:xfrm>
            <a:off x="4521347" y="3766241"/>
            <a:ext cx="2181885" cy="39835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u="sng" dirty="0" err="1">
                <a:solidFill>
                  <a:schemeClr val="tx1"/>
                </a:solidFill>
              </a:rPr>
              <a:t>GerichtID</a:t>
            </a:r>
            <a:endParaRPr lang="de-DE" u="sng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1583306-8405-3480-CBAD-5A401D5BC8BA}"/>
              </a:ext>
            </a:extLst>
          </p:cNvPr>
          <p:cNvCxnSpPr>
            <a:stCxn id="13" idx="4"/>
            <a:endCxn id="4" idx="0"/>
          </p:cNvCxnSpPr>
          <p:nvPr/>
        </p:nvCxnSpPr>
        <p:spPr>
          <a:xfrm>
            <a:off x="5612290" y="4164594"/>
            <a:ext cx="68749" cy="427778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aute 15">
            <a:extLst>
              <a:ext uri="{FF2B5EF4-FFF2-40B4-BE49-F238E27FC236}">
                <a16:creationId xmlns:a16="http://schemas.microsoft.com/office/drawing/2014/main" id="{AF2E135F-096A-1635-70A6-57BDE0259EB2}"/>
              </a:ext>
            </a:extLst>
          </p:cNvPr>
          <p:cNvSpPr/>
          <p:nvPr/>
        </p:nvSpPr>
        <p:spPr>
          <a:xfrm>
            <a:off x="7673797" y="4164593"/>
            <a:ext cx="1776321" cy="633743"/>
          </a:xfrm>
          <a:prstGeom prst="diamond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iefert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9B71C3FF-9315-742A-FD5F-99FC5BA39178}"/>
              </a:ext>
            </a:extLst>
          </p:cNvPr>
          <p:cNvCxnSpPr>
            <a:cxnSpLocks/>
            <a:stCxn id="5" idx="1"/>
            <a:endCxn id="16" idx="3"/>
          </p:cNvCxnSpPr>
          <p:nvPr/>
        </p:nvCxnSpPr>
        <p:spPr>
          <a:xfrm flipH="1">
            <a:off x="9450118" y="3614598"/>
            <a:ext cx="137502" cy="866867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29D3A383-552F-D429-303F-1832B1052DA5}"/>
              </a:ext>
            </a:extLst>
          </p:cNvPr>
          <p:cNvCxnSpPr>
            <a:stCxn id="16" idx="1"/>
            <a:endCxn id="4" idx="3"/>
          </p:cNvCxnSpPr>
          <p:nvPr/>
        </p:nvCxnSpPr>
        <p:spPr>
          <a:xfrm flipH="1">
            <a:off x="6319308" y="4481465"/>
            <a:ext cx="1354489" cy="454939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854A89A8-8F93-BAC7-3B0A-122D3685C2F6}"/>
              </a:ext>
            </a:extLst>
          </p:cNvPr>
          <p:cNvSpPr txBox="1"/>
          <p:nvPr/>
        </p:nvSpPr>
        <p:spPr>
          <a:xfrm>
            <a:off x="9240762" y="3407727"/>
            <a:ext cx="2699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1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7E2E9120-AC47-1A67-7554-F6BF8973B42B}"/>
              </a:ext>
            </a:extLst>
          </p:cNvPr>
          <p:cNvSpPr txBox="1"/>
          <p:nvPr/>
        </p:nvSpPr>
        <p:spPr>
          <a:xfrm>
            <a:off x="6377029" y="4407706"/>
            <a:ext cx="2699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n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944D9A78-D079-FF5B-8F01-468ACD7CF49D}"/>
              </a:ext>
            </a:extLst>
          </p:cNvPr>
          <p:cNvSpPr/>
          <p:nvPr/>
        </p:nvSpPr>
        <p:spPr>
          <a:xfrm>
            <a:off x="3883077" y="5391342"/>
            <a:ext cx="1276539" cy="68806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ezeichnung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6A593404-2F37-5DFB-C579-572203EB9F65}"/>
              </a:ext>
            </a:extLst>
          </p:cNvPr>
          <p:cNvSpPr/>
          <p:nvPr/>
        </p:nvSpPr>
        <p:spPr>
          <a:xfrm>
            <a:off x="5235442" y="5488665"/>
            <a:ext cx="1276539" cy="68806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Preis</a:t>
            </a: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7164AD63-AFDC-626F-8491-A1B4A236EBF0}"/>
              </a:ext>
            </a:extLst>
          </p:cNvPr>
          <p:cNvSpPr/>
          <p:nvPr/>
        </p:nvSpPr>
        <p:spPr>
          <a:xfrm>
            <a:off x="6646933" y="5432078"/>
            <a:ext cx="1276539" cy="68806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vegan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2BC44F54-A522-3F19-5700-A3369F54948F}"/>
              </a:ext>
            </a:extLst>
          </p:cNvPr>
          <p:cNvCxnSpPr>
            <a:cxnSpLocks/>
            <a:stCxn id="27" idx="1"/>
          </p:cNvCxnSpPr>
          <p:nvPr/>
        </p:nvCxnSpPr>
        <p:spPr>
          <a:xfrm flipH="1" flipV="1">
            <a:off x="5873711" y="5294010"/>
            <a:ext cx="960167" cy="238832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605D14FD-635F-623B-B192-B0DECD091C37}"/>
              </a:ext>
            </a:extLst>
          </p:cNvPr>
          <p:cNvCxnSpPr>
            <a:stCxn id="26" idx="0"/>
            <a:endCxn id="4" idx="2"/>
          </p:cNvCxnSpPr>
          <p:nvPr/>
        </p:nvCxnSpPr>
        <p:spPr>
          <a:xfrm flipH="1" flipV="1">
            <a:off x="5681039" y="5280435"/>
            <a:ext cx="192673" cy="208230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A47E67E1-AF90-3635-0866-C1F3FC30A8A8}"/>
              </a:ext>
            </a:extLst>
          </p:cNvPr>
          <p:cNvCxnSpPr>
            <a:stCxn id="25" idx="7"/>
          </p:cNvCxnSpPr>
          <p:nvPr/>
        </p:nvCxnSpPr>
        <p:spPr>
          <a:xfrm flipV="1">
            <a:off x="4972671" y="5294010"/>
            <a:ext cx="186945" cy="198096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C6B44B88-CC25-C1C5-738B-2AAAE1488795}"/>
              </a:ext>
            </a:extLst>
          </p:cNvPr>
          <p:cNvGrpSpPr/>
          <p:nvPr/>
        </p:nvGrpSpPr>
        <p:grpSpPr>
          <a:xfrm>
            <a:off x="3630254" y="315385"/>
            <a:ext cx="1261080" cy="171360"/>
            <a:chOff x="3630254" y="315385"/>
            <a:chExt cx="1261080" cy="1713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5">
              <p14:nvContentPartPr>
                <p14:cNvPr id="35" name="Freihand 34">
                  <a:extLst>
                    <a:ext uri="{FF2B5EF4-FFF2-40B4-BE49-F238E27FC236}">
                      <a16:creationId xmlns:a16="http://schemas.microsoft.com/office/drawing/2014/main" id="{77A17E34-6956-1EE3-2969-717DDE89C176}"/>
                    </a:ext>
                  </a:extLst>
                </p14:cNvPr>
                <p14:cNvContentPartPr/>
                <p14:nvPr/>
              </p14:nvContentPartPr>
              <p14:xfrm>
                <a:off x="3630254" y="316825"/>
                <a:ext cx="465840" cy="157680"/>
              </p14:xfrm>
            </p:contentPart>
          </mc:Choice>
          <mc:Fallback>
            <p:pic>
              <p:nvPicPr>
                <p:cNvPr id="35" name="Freihand 34">
                  <a:extLst>
                    <a:ext uri="{FF2B5EF4-FFF2-40B4-BE49-F238E27FC236}">
                      <a16:creationId xmlns:a16="http://schemas.microsoft.com/office/drawing/2014/main" id="{77A17E34-6956-1EE3-2969-717DDE89C176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3612254" y="298825"/>
                  <a:ext cx="501480" cy="193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">
              <p14:nvContentPartPr>
                <p14:cNvPr id="36" name="Freihand 35">
                  <a:extLst>
                    <a:ext uri="{FF2B5EF4-FFF2-40B4-BE49-F238E27FC236}">
                      <a16:creationId xmlns:a16="http://schemas.microsoft.com/office/drawing/2014/main" id="{7DEC2D47-A810-5961-4610-C5BDF742A442}"/>
                    </a:ext>
                  </a:extLst>
                </p14:cNvPr>
                <p14:cNvContentPartPr/>
                <p14:nvPr/>
              </p14:nvContentPartPr>
              <p14:xfrm>
                <a:off x="4318214" y="325825"/>
                <a:ext cx="360" cy="360"/>
              </p14:xfrm>
            </p:contentPart>
          </mc:Choice>
          <mc:Fallback>
            <p:pic>
              <p:nvPicPr>
                <p:cNvPr id="36" name="Freihand 35">
                  <a:extLst>
                    <a:ext uri="{FF2B5EF4-FFF2-40B4-BE49-F238E27FC236}">
                      <a16:creationId xmlns:a16="http://schemas.microsoft.com/office/drawing/2014/main" id="{7DEC2D47-A810-5961-4610-C5BDF742A442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4300574" y="308185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">
              <p14:nvContentPartPr>
                <p14:cNvPr id="37" name="Freihand 36">
                  <a:extLst>
                    <a:ext uri="{FF2B5EF4-FFF2-40B4-BE49-F238E27FC236}">
                      <a16:creationId xmlns:a16="http://schemas.microsoft.com/office/drawing/2014/main" id="{6EEBB2CF-4525-5885-A0F5-ABD222FDC369}"/>
                    </a:ext>
                  </a:extLst>
                </p14:cNvPr>
                <p14:cNvContentPartPr/>
                <p14:nvPr/>
              </p14:nvContentPartPr>
              <p14:xfrm>
                <a:off x="4318214" y="425545"/>
                <a:ext cx="360" cy="360"/>
              </p14:xfrm>
            </p:contentPart>
          </mc:Choice>
          <mc:Fallback>
            <p:pic>
              <p:nvPicPr>
                <p:cNvPr id="37" name="Freihand 36">
                  <a:extLst>
                    <a:ext uri="{FF2B5EF4-FFF2-40B4-BE49-F238E27FC236}">
                      <a16:creationId xmlns:a16="http://schemas.microsoft.com/office/drawing/2014/main" id="{6EEBB2CF-4525-5885-A0F5-ABD222FDC369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4300574" y="407545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">
              <p14:nvContentPartPr>
                <p14:cNvPr id="38" name="Freihand 37">
                  <a:extLst>
                    <a:ext uri="{FF2B5EF4-FFF2-40B4-BE49-F238E27FC236}">
                      <a16:creationId xmlns:a16="http://schemas.microsoft.com/office/drawing/2014/main" id="{5433910E-5F39-8555-6551-DD055A4CD63F}"/>
                    </a:ext>
                  </a:extLst>
                </p14:cNvPr>
                <p14:cNvContentPartPr/>
                <p14:nvPr/>
              </p14:nvContentPartPr>
              <p14:xfrm>
                <a:off x="4561934" y="315385"/>
                <a:ext cx="329400" cy="171360"/>
              </p14:xfrm>
            </p:contentPart>
          </mc:Choice>
          <mc:Fallback>
            <p:pic>
              <p:nvPicPr>
                <p:cNvPr id="38" name="Freihand 37">
                  <a:extLst>
                    <a:ext uri="{FF2B5EF4-FFF2-40B4-BE49-F238E27FC236}">
                      <a16:creationId xmlns:a16="http://schemas.microsoft.com/office/drawing/2014/main" id="{5433910E-5F39-8555-6551-DD055A4CD63F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4543934" y="297745"/>
                  <a:ext cx="365040" cy="2070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12">
            <p14:nvContentPartPr>
              <p14:cNvPr id="42" name="Freihand 41">
                <a:extLst>
                  <a:ext uri="{FF2B5EF4-FFF2-40B4-BE49-F238E27FC236}">
                    <a16:creationId xmlns:a16="http://schemas.microsoft.com/office/drawing/2014/main" id="{55392AB0-F0AA-9D7B-1017-8CB22E72BA5D}"/>
                  </a:ext>
                </a:extLst>
              </p14:cNvPr>
              <p14:cNvContentPartPr/>
              <p14:nvPr/>
            </p14:nvContentPartPr>
            <p14:xfrm>
              <a:off x="2941934" y="1016665"/>
              <a:ext cx="364320" cy="282240"/>
            </p14:xfrm>
          </p:contentPart>
        </mc:Choice>
        <mc:Fallback>
          <p:pic>
            <p:nvPicPr>
              <p:cNvPr id="42" name="Freihand 41">
                <a:extLst>
                  <a:ext uri="{FF2B5EF4-FFF2-40B4-BE49-F238E27FC236}">
                    <a16:creationId xmlns:a16="http://schemas.microsoft.com/office/drawing/2014/main" id="{55392AB0-F0AA-9D7B-1017-8CB22E72BA5D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2924294" y="998665"/>
                <a:ext cx="399960" cy="317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4">
            <p14:nvContentPartPr>
              <p14:cNvPr id="43" name="Freihand 42">
                <a:extLst>
                  <a:ext uri="{FF2B5EF4-FFF2-40B4-BE49-F238E27FC236}">
                    <a16:creationId xmlns:a16="http://schemas.microsoft.com/office/drawing/2014/main" id="{C832A6D6-52D5-A5DB-9BC3-EC122C5035E2}"/>
                  </a:ext>
                </a:extLst>
              </p14:cNvPr>
              <p14:cNvContentPartPr/>
              <p14:nvPr/>
            </p14:nvContentPartPr>
            <p14:xfrm>
              <a:off x="3595694" y="1571425"/>
              <a:ext cx="226080" cy="228240"/>
            </p14:xfrm>
          </p:contentPart>
        </mc:Choice>
        <mc:Fallback>
          <p:pic>
            <p:nvPicPr>
              <p:cNvPr id="43" name="Freihand 42">
                <a:extLst>
                  <a:ext uri="{FF2B5EF4-FFF2-40B4-BE49-F238E27FC236}">
                    <a16:creationId xmlns:a16="http://schemas.microsoft.com/office/drawing/2014/main" id="{C832A6D6-52D5-A5DB-9BC3-EC122C5035E2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3577694" y="1553785"/>
                <a:ext cx="261720" cy="263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6">
            <p14:nvContentPartPr>
              <p14:cNvPr id="44" name="Freihand 43">
                <a:extLst>
                  <a:ext uri="{FF2B5EF4-FFF2-40B4-BE49-F238E27FC236}">
                    <a16:creationId xmlns:a16="http://schemas.microsoft.com/office/drawing/2014/main" id="{09A45F04-8F2B-4B31-999C-79C842FE2076}"/>
                  </a:ext>
                </a:extLst>
              </p14:cNvPr>
              <p14:cNvContentPartPr/>
              <p14:nvPr/>
            </p14:nvContentPartPr>
            <p14:xfrm>
              <a:off x="5748134" y="1484305"/>
              <a:ext cx="210600" cy="109440"/>
            </p14:xfrm>
          </p:contentPart>
        </mc:Choice>
        <mc:Fallback>
          <p:pic>
            <p:nvPicPr>
              <p:cNvPr id="44" name="Freihand 43">
                <a:extLst>
                  <a:ext uri="{FF2B5EF4-FFF2-40B4-BE49-F238E27FC236}">
                    <a16:creationId xmlns:a16="http://schemas.microsoft.com/office/drawing/2014/main" id="{09A45F04-8F2B-4B31-999C-79C842FE2076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5730494" y="1466665"/>
                <a:ext cx="246240" cy="145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8">
            <p14:nvContentPartPr>
              <p14:cNvPr id="45" name="Freihand 44">
                <a:extLst>
                  <a:ext uri="{FF2B5EF4-FFF2-40B4-BE49-F238E27FC236}">
                    <a16:creationId xmlns:a16="http://schemas.microsoft.com/office/drawing/2014/main" id="{33CD870A-28D7-34F9-ECBF-0C4CD1BF230C}"/>
                  </a:ext>
                </a:extLst>
              </p14:cNvPr>
              <p14:cNvContentPartPr/>
              <p14:nvPr/>
            </p14:nvContentPartPr>
            <p14:xfrm>
              <a:off x="6264734" y="1094065"/>
              <a:ext cx="254160" cy="191880"/>
            </p14:xfrm>
          </p:contentPart>
        </mc:Choice>
        <mc:Fallback>
          <p:pic>
            <p:nvPicPr>
              <p:cNvPr id="45" name="Freihand 44">
                <a:extLst>
                  <a:ext uri="{FF2B5EF4-FFF2-40B4-BE49-F238E27FC236}">
                    <a16:creationId xmlns:a16="http://schemas.microsoft.com/office/drawing/2014/main" id="{33CD870A-28D7-34F9-ECBF-0C4CD1BF230C}"/>
                  </a:ext>
                </a:extLst>
              </p:cNvPr>
              <p:cNvPicPr/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6246734" y="1076425"/>
                <a:ext cx="289800" cy="227520"/>
              </a:xfrm>
              <a:prstGeom prst="rect">
                <a:avLst/>
              </a:prstGeom>
            </p:spPr>
          </p:pic>
        </mc:Fallback>
      </mc:AlternateContent>
      <p:sp>
        <p:nvSpPr>
          <p:cNvPr id="48" name="Raute 47">
            <a:extLst>
              <a:ext uri="{FF2B5EF4-FFF2-40B4-BE49-F238E27FC236}">
                <a16:creationId xmlns:a16="http://schemas.microsoft.com/office/drawing/2014/main" id="{370AFE90-9759-E041-4E7B-FCD48BD1A028}"/>
              </a:ext>
            </a:extLst>
          </p:cNvPr>
          <p:cNvSpPr/>
          <p:nvPr/>
        </p:nvSpPr>
        <p:spPr>
          <a:xfrm>
            <a:off x="2214475" y="3793139"/>
            <a:ext cx="1776321" cy="1173820"/>
          </a:xfrm>
          <a:prstGeom prst="diamond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Zutat_Gericht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4C0D0877-E8A2-29BD-9938-B1081786D0FE}"/>
              </a:ext>
            </a:extLst>
          </p:cNvPr>
          <p:cNvCxnSpPr>
            <a:stCxn id="4" idx="1"/>
            <a:endCxn id="48" idx="3"/>
          </p:cNvCxnSpPr>
          <p:nvPr/>
        </p:nvCxnSpPr>
        <p:spPr>
          <a:xfrm flipH="1" flipV="1">
            <a:off x="3990796" y="4380049"/>
            <a:ext cx="1051973" cy="556355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20CB31C7-FB69-06A5-97F1-779A9F151E3F}"/>
              </a:ext>
            </a:extLst>
          </p:cNvPr>
          <p:cNvCxnSpPr>
            <a:stCxn id="48" idx="1"/>
          </p:cNvCxnSpPr>
          <p:nvPr/>
        </p:nvCxnSpPr>
        <p:spPr>
          <a:xfrm flipH="1">
            <a:off x="1515586" y="4380049"/>
            <a:ext cx="698889" cy="0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feld 52">
            <a:extLst>
              <a:ext uri="{FF2B5EF4-FFF2-40B4-BE49-F238E27FC236}">
                <a16:creationId xmlns:a16="http://schemas.microsoft.com/office/drawing/2014/main" id="{61EEAE91-2960-0220-8A99-E63791906B07}"/>
              </a:ext>
            </a:extLst>
          </p:cNvPr>
          <p:cNvSpPr txBox="1"/>
          <p:nvPr/>
        </p:nvSpPr>
        <p:spPr>
          <a:xfrm>
            <a:off x="4635363" y="4349494"/>
            <a:ext cx="2699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n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1C43D488-641D-3739-5AA8-2107A7681D46}"/>
              </a:ext>
            </a:extLst>
          </p:cNvPr>
          <p:cNvSpPr txBox="1"/>
          <p:nvPr/>
        </p:nvSpPr>
        <p:spPr>
          <a:xfrm>
            <a:off x="1548183" y="4009151"/>
            <a:ext cx="2699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m</a:t>
            </a:r>
          </a:p>
        </p:txBody>
      </p:sp>
      <p:sp>
        <p:nvSpPr>
          <p:cNvPr id="55" name="Ellipse 54">
            <a:extLst>
              <a:ext uri="{FF2B5EF4-FFF2-40B4-BE49-F238E27FC236}">
                <a16:creationId xmlns:a16="http://schemas.microsoft.com/office/drawing/2014/main" id="{6BB7B6E7-3C4C-D625-5FCC-F8C2D22C3B1F}"/>
              </a:ext>
            </a:extLst>
          </p:cNvPr>
          <p:cNvSpPr/>
          <p:nvPr/>
        </p:nvSpPr>
        <p:spPr>
          <a:xfrm>
            <a:off x="0" y="5088046"/>
            <a:ext cx="1276539" cy="68806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ezeichnung</a:t>
            </a:r>
          </a:p>
        </p:txBody>
      </p:sp>
      <p:sp>
        <p:nvSpPr>
          <p:cNvPr id="57" name="Ellipse 56">
            <a:extLst>
              <a:ext uri="{FF2B5EF4-FFF2-40B4-BE49-F238E27FC236}">
                <a16:creationId xmlns:a16="http://schemas.microsoft.com/office/drawing/2014/main" id="{0933B92A-FF27-237C-58ED-39FE6B12D91C}"/>
              </a:ext>
            </a:extLst>
          </p:cNvPr>
          <p:cNvSpPr/>
          <p:nvPr/>
        </p:nvSpPr>
        <p:spPr>
          <a:xfrm>
            <a:off x="-124923" y="3410838"/>
            <a:ext cx="2181885" cy="39835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u="sng" dirty="0" err="1">
                <a:solidFill>
                  <a:schemeClr val="tx1"/>
                </a:solidFill>
              </a:rPr>
              <a:t>ZutatID</a:t>
            </a:r>
            <a:endParaRPr lang="de-DE" u="sng" dirty="0">
              <a:solidFill>
                <a:schemeClr val="tx1"/>
              </a:solidFill>
            </a:endParaRPr>
          </a:p>
        </p:txBody>
      </p: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806FE2ED-7726-D106-6B8E-5ECA9AC57A3D}"/>
              </a:ext>
            </a:extLst>
          </p:cNvPr>
          <p:cNvCxnSpPr>
            <a:stCxn id="57" idx="4"/>
            <a:endCxn id="3" idx="0"/>
          </p:cNvCxnSpPr>
          <p:nvPr/>
        </p:nvCxnSpPr>
        <p:spPr>
          <a:xfrm flipH="1">
            <a:off x="877317" y="3809191"/>
            <a:ext cx="88703" cy="355402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C8C5EB8E-1269-F359-53F6-B319E78202C4}"/>
              </a:ext>
            </a:extLst>
          </p:cNvPr>
          <p:cNvCxnSpPr>
            <a:stCxn id="3" idx="2"/>
            <a:endCxn id="55" idx="0"/>
          </p:cNvCxnSpPr>
          <p:nvPr/>
        </p:nvCxnSpPr>
        <p:spPr>
          <a:xfrm flipH="1">
            <a:off x="638270" y="4852656"/>
            <a:ext cx="239047" cy="235390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Ellipse 62">
            <a:extLst>
              <a:ext uri="{FF2B5EF4-FFF2-40B4-BE49-F238E27FC236}">
                <a16:creationId xmlns:a16="http://schemas.microsoft.com/office/drawing/2014/main" id="{D4E3A4C5-7C1F-FCAE-FCF6-A1A07BAE3D8F}"/>
              </a:ext>
            </a:extLst>
          </p:cNvPr>
          <p:cNvSpPr/>
          <p:nvPr/>
        </p:nvSpPr>
        <p:spPr>
          <a:xfrm>
            <a:off x="2303664" y="2695695"/>
            <a:ext cx="1276539" cy="68806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enge</a:t>
            </a:r>
          </a:p>
        </p:txBody>
      </p:sp>
      <p:cxnSp>
        <p:nvCxnSpPr>
          <p:cNvPr id="1025" name="Gerader Verbinder 1024">
            <a:extLst>
              <a:ext uri="{FF2B5EF4-FFF2-40B4-BE49-F238E27FC236}">
                <a16:creationId xmlns:a16="http://schemas.microsoft.com/office/drawing/2014/main" id="{AD263C14-31E3-53FC-81C3-043D8D72F466}"/>
              </a:ext>
            </a:extLst>
          </p:cNvPr>
          <p:cNvCxnSpPr>
            <a:stCxn id="63" idx="4"/>
            <a:endCxn id="48" idx="0"/>
          </p:cNvCxnSpPr>
          <p:nvPr/>
        </p:nvCxnSpPr>
        <p:spPr>
          <a:xfrm>
            <a:off x="2941934" y="3383758"/>
            <a:ext cx="160702" cy="409381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7" name="Textfeld 1026">
            <a:extLst>
              <a:ext uri="{FF2B5EF4-FFF2-40B4-BE49-F238E27FC236}">
                <a16:creationId xmlns:a16="http://schemas.microsoft.com/office/drawing/2014/main" id="{2AFECFE9-3CD6-618D-07E0-BF851F25B3D8}"/>
              </a:ext>
            </a:extLst>
          </p:cNvPr>
          <p:cNvSpPr txBox="1"/>
          <p:nvPr/>
        </p:nvSpPr>
        <p:spPr>
          <a:xfrm>
            <a:off x="2303663" y="5280435"/>
            <a:ext cx="16495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2. Normalform</a:t>
            </a:r>
          </a:p>
        </p:txBody>
      </p:sp>
      <p:sp>
        <p:nvSpPr>
          <p:cNvPr id="1028" name="Textfeld 1027">
            <a:extLst>
              <a:ext uri="{FF2B5EF4-FFF2-40B4-BE49-F238E27FC236}">
                <a16:creationId xmlns:a16="http://schemas.microsoft.com/office/drawing/2014/main" id="{EAA1D85E-715E-24CE-4E36-C93AF808A97D}"/>
              </a:ext>
            </a:extLst>
          </p:cNvPr>
          <p:cNvSpPr txBox="1"/>
          <p:nvPr/>
        </p:nvSpPr>
        <p:spPr>
          <a:xfrm>
            <a:off x="8125580" y="4932806"/>
            <a:ext cx="16495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3. Normalform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20">
            <p14:nvContentPartPr>
              <p14:cNvPr id="1033" name="Freihand 1032">
                <a:extLst>
                  <a:ext uri="{FF2B5EF4-FFF2-40B4-BE49-F238E27FC236}">
                    <a16:creationId xmlns:a16="http://schemas.microsoft.com/office/drawing/2014/main" id="{52F1081E-3FFB-1D33-D472-7A6D815943C7}"/>
                  </a:ext>
                </a:extLst>
              </p14:cNvPr>
              <p14:cNvContentPartPr/>
              <p14:nvPr/>
            </p14:nvContentPartPr>
            <p14:xfrm>
              <a:off x="6798974" y="2534785"/>
              <a:ext cx="135000" cy="360"/>
            </p14:xfrm>
          </p:contentPart>
        </mc:Choice>
        <mc:Fallback>
          <p:pic>
            <p:nvPicPr>
              <p:cNvPr id="1033" name="Freihand 1032">
                <a:extLst>
                  <a:ext uri="{FF2B5EF4-FFF2-40B4-BE49-F238E27FC236}">
                    <a16:creationId xmlns:a16="http://schemas.microsoft.com/office/drawing/2014/main" id="{52F1081E-3FFB-1D33-D472-7A6D815943C7}"/>
                  </a:ext>
                </a:extLst>
              </p:cNvPr>
              <p:cNvPicPr/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6745334" y="2427145"/>
                <a:ext cx="24264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2">
            <p14:nvContentPartPr>
              <p14:cNvPr id="1034" name="Freihand 1033">
                <a:extLst>
                  <a:ext uri="{FF2B5EF4-FFF2-40B4-BE49-F238E27FC236}">
                    <a16:creationId xmlns:a16="http://schemas.microsoft.com/office/drawing/2014/main" id="{4597AA9B-02A2-7B40-D565-9F29C3FEBCF0}"/>
                  </a:ext>
                </a:extLst>
              </p14:cNvPr>
              <p14:cNvContentPartPr/>
              <p14:nvPr/>
            </p14:nvContentPartPr>
            <p14:xfrm>
              <a:off x="9442454" y="1973545"/>
              <a:ext cx="108000" cy="360"/>
            </p14:xfrm>
          </p:contentPart>
        </mc:Choice>
        <mc:Fallback>
          <p:pic>
            <p:nvPicPr>
              <p:cNvPr id="1034" name="Freihand 1033">
                <a:extLst>
                  <a:ext uri="{FF2B5EF4-FFF2-40B4-BE49-F238E27FC236}">
                    <a16:creationId xmlns:a16="http://schemas.microsoft.com/office/drawing/2014/main" id="{4597AA9B-02A2-7B40-D565-9F29C3FEBCF0}"/>
                  </a:ext>
                </a:extLst>
              </p:cNvPr>
              <p:cNvPicPr/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9388814" y="1865545"/>
                <a:ext cx="21564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4">
            <p14:nvContentPartPr>
              <p14:cNvPr id="1035" name="Freihand 1034">
                <a:extLst>
                  <a:ext uri="{FF2B5EF4-FFF2-40B4-BE49-F238E27FC236}">
                    <a16:creationId xmlns:a16="http://schemas.microsoft.com/office/drawing/2014/main" id="{B947A1FA-64AB-A788-3E01-6A865CACD55E}"/>
                  </a:ext>
                </a:extLst>
              </p14:cNvPr>
              <p14:cNvContentPartPr/>
              <p14:nvPr/>
            </p14:nvContentPartPr>
            <p14:xfrm>
              <a:off x="8781854" y="1463065"/>
              <a:ext cx="136440" cy="174600"/>
            </p14:xfrm>
          </p:contentPart>
        </mc:Choice>
        <mc:Fallback>
          <p:pic>
            <p:nvPicPr>
              <p:cNvPr id="1035" name="Freihand 1034">
                <a:extLst>
                  <a:ext uri="{FF2B5EF4-FFF2-40B4-BE49-F238E27FC236}">
                    <a16:creationId xmlns:a16="http://schemas.microsoft.com/office/drawing/2014/main" id="{B947A1FA-64AB-A788-3E01-6A865CACD55E}"/>
                  </a:ext>
                </a:extLst>
              </p:cNvPr>
              <p:cNvPicPr/>
              <p:nvPr/>
            </p:nvPicPr>
            <p:blipFill>
              <a:blip r:embed="rId25"/>
              <a:stretch>
                <a:fillRect/>
              </a:stretch>
            </p:blipFill>
            <p:spPr>
              <a:xfrm>
                <a:off x="8763854" y="1445065"/>
                <a:ext cx="172080" cy="210240"/>
              </a:xfrm>
              <a:prstGeom prst="rect">
                <a:avLst/>
              </a:prstGeom>
            </p:spPr>
          </p:pic>
        </mc:Fallback>
      </mc:AlternateContent>
      <p:grpSp>
        <p:nvGrpSpPr>
          <p:cNvPr id="1038" name="Gruppieren 1037">
            <a:extLst>
              <a:ext uri="{FF2B5EF4-FFF2-40B4-BE49-F238E27FC236}">
                <a16:creationId xmlns:a16="http://schemas.microsoft.com/office/drawing/2014/main" id="{DA9E5F7B-A04F-FC27-A17D-A3025A2BA951}"/>
              </a:ext>
            </a:extLst>
          </p:cNvPr>
          <p:cNvGrpSpPr/>
          <p:nvPr/>
        </p:nvGrpSpPr>
        <p:grpSpPr>
          <a:xfrm>
            <a:off x="8482334" y="2417425"/>
            <a:ext cx="202320" cy="201240"/>
            <a:chOff x="8482334" y="2417425"/>
            <a:chExt cx="202320" cy="2012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6">
              <p14:nvContentPartPr>
                <p14:cNvPr id="1036" name="Freihand 1035">
                  <a:extLst>
                    <a:ext uri="{FF2B5EF4-FFF2-40B4-BE49-F238E27FC236}">
                      <a16:creationId xmlns:a16="http://schemas.microsoft.com/office/drawing/2014/main" id="{50FCD8F1-F1C4-A43C-DE3A-A27647182F98}"/>
                    </a:ext>
                  </a:extLst>
                </p14:cNvPr>
                <p14:cNvContentPartPr/>
                <p14:nvPr/>
              </p14:nvContentPartPr>
              <p14:xfrm>
                <a:off x="8534534" y="2441185"/>
                <a:ext cx="150120" cy="177480"/>
              </p14:xfrm>
            </p:contentPart>
          </mc:Choice>
          <mc:Fallback>
            <p:pic>
              <p:nvPicPr>
                <p:cNvPr id="1036" name="Freihand 1035">
                  <a:extLst>
                    <a:ext uri="{FF2B5EF4-FFF2-40B4-BE49-F238E27FC236}">
                      <a16:creationId xmlns:a16="http://schemas.microsoft.com/office/drawing/2014/main" id="{50FCD8F1-F1C4-A43C-DE3A-A27647182F98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8516894" y="2423185"/>
                  <a:ext cx="185760" cy="213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">
              <p14:nvContentPartPr>
                <p14:cNvPr id="1037" name="Freihand 1036">
                  <a:extLst>
                    <a:ext uri="{FF2B5EF4-FFF2-40B4-BE49-F238E27FC236}">
                      <a16:creationId xmlns:a16="http://schemas.microsoft.com/office/drawing/2014/main" id="{6BABE1B2-0C29-151C-BEB2-2E3FD397046D}"/>
                    </a:ext>
                  </a:extLst>
                </p14:cNvPr>
                <p14:cNvContentPartPr/>
                <p14:nvPr/>
              </p14:nvContentPartPr>
              <p14:xfrm>
                <a:off x="8482334" y="2417425"/>
                <a:ext cx="55080" cy="134640"/>
              </p14:xfrm>
            </p:contentPart>
          </mc:Choice>
          <mc:Fallback>
            <p:pic>
              <p:nvPicPr>
                <p:cNvPr id="1037" name="Freihand 1036">
                  <a:extLst>
                    <a:ext uri="{FF2B5EF4-FFF2-40B4-BE49-F238E27FC236}">
                      <a16:creationId xmlns:a16="http://schemas.microsoft.com/office/drawing/2014/main" id="{6BABE1B2-0C29-151C-BEB2-2E3FD397046D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8464694" y="2399425"/>
                  <a:ext cx="90720" cy="17028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21579165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94C20508E2C0545B9175DAD24EE0DF7" ma:contentTypeVersion="10" ma:contentTypeDescription="Ein neues Dokument erstellen." ma:contentTypeScope="" ma:versionID="5e1d670fd1b64ee029b7646d9c18d9be">
  <xsd:schema xmlns:xsd="http://www.w3.org/2001/XMLSchema" xmlns:xs="http://www.w3.org/2001/XMLSchema" xmlns:p="http://schemas.microsoft.com/office/2006/metadata/properties" xmlns:ns2="761da866-3664-4ca3-b110-8608fed9955d" xmlns:ns3="5a7fe788-3ed4-4d56-9811-7216245dac7c" targetNamespace="http://schemas.microsoft.com/office/2006/metadata/properties" ma:root="true" ma:fieldsID="c17b284b0f56111151f293c6a8c96192" ns2:_="" ns3:_="">
    <xsd:import namespace="761da866-3664-4ca3-b110-8608fed9955d"/>
    <xsd:import namespace="5a7fe788-3ed4-4d56-9811-7216245dac7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1da866-3664-4ca3-b110-8608fed995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310c5fd4-b598-4459-8105-2a281347ce2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7fe788-3ed4-4d56-9811-7216245dac7c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c549c7db-bee4-411b-8e0f-18d660166b2d}" ma:internalName="TaxCatchAll" ma:showField="CatchAllData" ma:web="5a7fe788-3ed4-4d56-9811-7216245dac7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61da866-3664-4ca3-b110-8608fed9955d">
      <Terms xmlns="http://schemas.microsoft.com/office/infopath/2007/PartnerControls"/>
    </lcf76f155ced4ddcb4097134ff3c332f>
    <TaxCatchAll xmlns="5a7fe788-3ed4-4d56-9811-7216245dac7c" xsi:nil="true"/>
  </documentManagement>
</p:properties>
</file>

<file path=customXml/itemProps1.xml><?xml version="1.0" encoding="utf-8"?>
<ds:datastoreItem xmlns:ds="http://schemas.openxmlformats.org/officeDocument/2006/customXml" ds:itemID="{6226704F-F326-4FDC-B39B-8AF4FDBE470A}"/>
</file>

<file path=customXml/itemProps2.xml><?xml version="1.0" encoding="utf-8"?>
<ds:datastoreItem xmlns:ds="http://schemas.openxmlformats.org/officeDocument/2006/customXml" ds:itemID="{6A20371C-1972-4627-9C14-41C3293BB646}"/>
</file>

<file path=customXml/itemProps3.xml><?xml version="1.0" encoding="utf-8"?>
<ds:datastoreItem xmlns:ds="http://schemas.openxmlformats.org/officeDocument/2006/customXml" ds:itemID="{F59043AC-C4F1-47AD-9B6A-0ECB97916CA6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80</Words>
  <Application>Microsoft Office PowerPoint</Application>
  <PresentationFormat>Breitbild</PresentationFormat>
  <Paragraphs>225</Paragraphs>
  <Slides>2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9</vt:i4>
      </vt:variant>
    </vt:vector>
  </HeadingPairs>
  <TitlesOfParts>
    <vt:vector size="39" baseType="lpstr">
      <vt:lpstr>Aptos</vt:lpstr>
      <vt:lpstr>Arial</vt:lpstr>
      <vt:lpstr>Calibri</vt:lpstr>
      <vt:lpstr>Calibri Light</vt:lpstr>
      <vt:lpstr>Segoe UI</vt:lpstr>
      <vt:lpstr>Tahoma</vt:lpstr>
      <vt:lpstr>Wingdings</vt:lpstr>
      <vt:lpstr>WordVisiCarriageReturn_MSFontService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eter Bartholot</dc:creator>
  <cp:lastModifiedBy>Peter Bartholot</cp:lastModifiedBy>
  <cp:revision>56</cp:revision>
  <dcterms:created xsi:type="dcterms:W3CDTF">2023-03-08T11:59:58Z</dcterms:created>
  <dcterms:modified xsi:type="dcterms:W3CDTF">2025-09-30T10:42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94C20508E2C0545B9175DAD24EE0DF7</vt:lpwstr>
  </property>
</Properties>
</file>